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handoutMasterIdLst>
    <p:handoutMasterId r:id="rId23"/>
  </p:handoutMasterIdLst>
  <p:sldIdLst>
    <p:sldId id="445" r:id="rId5"/>
    <p:sldId id="464" r:id="rId6"/>
    <p:sldId id="526" r:id="rId7"/>
    <p:sldId id="527" r:id="rId8"/>
    <p:sldId id="519" r:id="rId9"/>
    <p:sldId id="658" r:id="rId10"/>
    <p:sldId id="662" r:id="rId11"/>
    <p:sldId id="663" r:id="rId12"/>
    <p:sldId id="664" r:id="rId13"/>
    <p:sldId id="520" r:id="rId14"/>
    <p:sldId id="532" r:id="rId15"/>
    <p:sldId id="469" r:id="rId16"/>
    <p:sldId id="468" r:id="rId17"/>
    <p:sldId id="661" r:id="rId18"/>
    <p:sldId id="660" r:id="rId19"/>
    <p:sldId id="458" r:id="rId20"/>
    <p:sldId id="653" r:id="rId21"/>
  </p:sldIdLst>
  <p:sldSz cx="12192000" cy="6858000"/>
  <p:notesSz cx="6858000" cy="9144000"/>
  <p:custDataLst>
    <p:tags r:id="rId24"/>
  </p:custDataLst>
  <p:defaultTextStyle>
    <a:defPPr>
      <a:defRPr lang="de-DE"/>
    </a:defPPr>
    <a:lvl1pPr algn="l" defTabSz="912813"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5613" indent="1588" algn="l" defTabSz="912813"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2813" indent="1588" algn="l" defTabSz="912813"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0013" indent="1588" algn="l" defTabSz="912813"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7213" indent="1588" algn="l" defTabSz="912813"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 initials="" lastIdx="1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B38E"/>
    <a:srgbClr val="000000"/>
    <a:srgbClr val="003369"/>
    <a:srgbClr val="C5C6BF"/>
    <a:srgbClr val="929288"/>
    <a:srgbClr val="FDFDFD"/>
    <a:srgbClr val="F6F5F0"/>
    <a:srgbClr val="6263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BD1F3B-4384-42E1-9330-1D47434413BF}" v="81" dt="2024-05-06T23:14:13.9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44" autoAdjust="0"/>
    <p:restoredTop sz="88364" autoAdjust="0"/>
  </p:normalViewPr>
  <p:slideViewPr>
    <p:cSldViewPr snapToGrid="0">
      <p:cViewPr varScale="1">
        <p:scale>
          <a:sx n="64" d="100"/>
          <a:sy n="64" d="100"/>
        </p:scale>
        <p:origin x="704" y="48"/>
      </p:cViewPr>
      <p:guideLst/>
    </p:cSldViewPr>
  </p:slideViewPr>
  <p:outlineViewPr>
    <p:cViewPr>
      <p:scale>
        <a:sx n="33" d="100"/>
        <a:sy n="33" d="100"/>
      </p:scale>
      <p:origin x="0" y="-36192"/>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1" d="100"/>
          <a:sy n="81" d="100"/>
        </p:scale>
        <p:origin x="3324"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0" i="0" u="none" strike="noStrike" kern="1200" cap="none" spc="0" normalizeH="0" baseline="0">
              <a:solidFill>
                <a:schemeClr val="tx1">
                  <a:lumMod val="65000"/>
                  <a:lumOff val="35000"/>
                </a:schemeClr>
              </a:solidFill>
              <a:latin typeface="+mj-lt"/>
              <a:ea typeface="+mj-ea"/>
              <a:cs typeface="+mj-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stacked"/>
        <c:varyColors val="0"/>
        <c:ser>
          <c:idx val="0"/>
          <c:order val="0"/>
          <c:tx>
            <c:strRef>
              <c:f>Sheet1!$B$1</c:f>
              <c:strCache>
                <c:ptCount val="1"/>
                <c:pt idx="0">
                  <c:v>Time in minutes</c:v>
                </c:pt>
              </c:strCache>
            </c:strRef>
          </c:tx>
          <c:spPr>
            <a:solidFill>
              <a:schemeClr val="accent2"/>
            </a:solidFill>
            <a:ln>
              <a:noFill/>
            </a:ln>
            <a:effectLst/>
            <a:sp3d/>
          </c:spPr>
          <c:invertIfNegative val="0"/>
          <c:cat>
            <c:strRef>
              <c:f>Sheet1!$A$2:$A$3</c:f>
              <c:strCache>
                <c:ptCount val="2"/>
                <c:pt idx="0">
                  <c:v>No app</c:v>
                </c:pt>
                <c:pt idx="1">
                  <c:v>With app</c:v>
                </c:pt>
              </c:strCache>
            </c:strRef>
          </c:cat>
          <c:val>
            <c:numRef>
              <c:f>Sheet1!$B$2:$B$3</c:f>
              <c:numCache>
                <c:formatCode>General</c:formatCode>
                <c:ptCount val="2"/>
                <c:pt idx="0">
                  <c:v>73.33</c:v>
                </c:pt>
                <c:pt idx="1">
                  <c:v>8.33</c:v>
                </c:pt>
              </c:numCache>
            </c:numRef>
          </c:val>
          <c:extLst>
            <c:ext xmlns:c16="http://schemas.microsoft.com/office/drawing/2014/chart" uri="{C3380CC4-5D6E-409C-BE32-E72D297353CC}">
              <c16:uniqueId val="{00000000-A6F8-46ED-BBB1-0F4150FDB845}"/>
            </c:ext>
          </c:extLst>
        </c:ser>
        <c:dLbls>
          <c:showLegendKey val="0"/>
          <c:showVal val="0"/>
          <c:showCatName val="0"/>
          <c:showSerName val="0"/>
          <c:showPercent val="0"/>
          <c:showBubbleSize val="0"/>
        </c:dLbls>
        <c:gapWidth val="95"/>
        <c:gapDepth val="95"/>
        <c:shape val="box"/>
        <c:axId val="1972035567"/>
        <c:axId val="2043051167"/>
        <c:axId val="0"/>
      </c:bar3DChart>
      <c:catAx>
        <c:axId val="1972035567"/>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cap="none" spc="0" normalizeH="0" baseline="0">
                <a:solidFill>
                  <a:schemeClr val="tx1">
                    <a:lumMod val="65000"/>
                    <a:lumOff val="35000"/>
                  </a:schemeClr>
                </a:solidFill>
                <a:latin typeface="+mn-lt"/>
                <a:ea typeface="+mn-ea"/>
                <a:cs typeface="+mn-cs"/>
              </a:defRPr>
            </a:pPr>
            <a:endParaRPr lang="en-US"/>
          </a:p>
        </c:txPr>
        <c:crossAx val="2043051167"/>
        <c:crosses val="autoZero"/>
        <c:auto val="1"/>
        <c:lblAlgn val="ctr"/>
        <c:lblOffset val="100"/>
        <c:noMultiLvlLbl val="0"/>
      </c:catAx>
      <c:valAx>
        <c:axId val="2043051167"/>
        <c:scaling>
          <c:orientation val="minMax"/>
          <c:max val="80"/>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2035567"/>
        <c:crosses val="autoZero"/>
        <c:crossBetween val="between"/>
        <c:majorUnit val="10"/>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0" i="0" u="none" strike="noStrike" kern="1200" cap="none" spc="0" normalizeH="0" baseline="0">
              <a:solidFill>
                <a:schemeClr val="tx1">
                  <a:lumMod val="65000"/>
                  <a:lumOff val="35000"/>
                </a:schemeClr>
              </a:solidFill>
              <a:latin typeface="+mj-lt"/>
              <a:ea typeface="+mj-ea"/>
              <a:cs typeface="+mj-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stacked"/>
        <c:varyColors val="0"/>
        <c:ser>
          <c:idx val="0"/>
          <c:order val="0"/>
          <c:tx>
            <c:strRef>
              <c:f>Sheet1!$B$1</c:f>
              <c:strCache>
                <c:ptCount val="1"/>
                <c:pt idx="0">
                  <c:v>Time in minutes</c:v>
                </c:pt>
              </c:strCache>
            </c:strRef>
          </c:tx>
          <c:spPr>
            <a:solidFill>
              <a:schemeClr val="accent2"/>
            </a:solidFill>
            <a:ln>
              <a:noFill/>
            </a:ln>
            <a:effectLst/>
            <a:sp3d/>
          </c:spPr>
          <c:invertIfNegative val="0"/>
          <c:cat>
            <c:strRef>
              <c:f>Sheet1!$A$2:$A$3</c:f>
              <c:strCache>
                <c:ptCount val="2"/>
                <c:pt idx="0">
                  <c:v>No app</c:v>
                </c:pt>
                <c:pt idx="1">
                  <c:v>With app</c:v>
                </c:pt>
              </c:strCache>
            </c:strRef>
          </c:cat>
          <c:val>
            <c:numRef>
              <c:f>Sheet1!$B$2:$B$3</c:f>
              <c:numCache>
                <c:formatCode>General</c:formatCode>
                <c:ptCount val="2"/>
                <c:pt idx="0">
                  <c:v>29</c:v>
                </c:pt>
                <c:pt idx="1">
                  <c:v>8</c:v>
                </c:pt>
              </c:numCache>
            </c:numRef>
          </c:val>
          <c:extLst>
            <c:ext xmlns:c16="http://schemas.microsoft.com/office/drawing/2014/chart" uri="{C3380CC4-5D6E-409C-BE32-E72D297353CC}">
              <c16:uniqueId val="{00000000-A6F8-46ED-BBB1-0F4150FDB845}"/>
            </c:ext>
          </c:extLst>
        </c:ser>
        <c:dLbls>
          <c:showLegendKey val="0"/>
          <c:showVal val="0"/>
          <c:showCatName val="0"/>
          <c:showSerName val="0"/>
          <c:showPercent val="0"/>
          <c:showBubbleSize val="0"/>
        </c:dLbls>
        <c:gapWidth val="95"/>
        <c:gapDepth val="95"/>
        <c:shape val="box"/>
        <c:axId val="1972035567"/>
        <c:axId val="2043051167"/>
        <c:axId val="0"/>
      </c:bar3DChart>
      <c:catAx>
        <c:axId val="1972035567"/>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cap="none" spc="0" normalizeH="0" baseline="0">
                <a:solidFill>
                  <a:schemeClr val="tx1">
                    <a:lumMod val="65000"/>
                    <a:lumOff val="35000"/>
                  </a:schemeClr>
                </a:solidFill>
                <a:latin typeface="+mn-lt"/>
                <a:ea typeface="+mn-ea"/>
                <a:cs typeface="+mn-cs"/>
              </a:defRPr>
            </a:pPr>
            <a:endParaRPr lang="en-US"/>
          </a:p>
        </c:txPr>
        <c:crossAx val="2043051167"/>
        <c:crosses val="autoZero"/>
        <c:auto val="1"/>
        <c:lblAlgn val="ctr"/>
        <c:lblOffset val="100"/>
        <c:noMultiLvlLbl val="0"/>
      </c:catAx>
      <c:valAx>
        <c:axId val="2043051167"/>
        <c:scaling>
          <c:orientation val="minMax"/>
          <c:max val="30"/>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72035567"/>
        <c:crosses val="autoZero"/>
        <c:crossBetween val="between"/>
        <c:majorUnit val="10"/>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6">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6">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F16CC31-D0B7-A076-4B3F-0BA59F5A9AC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defTabSz="914377" eaLnBrk="1" fontAlgn="auto" hangingPunct="1">
              <a:spcBef>
                <a:spcPts val="0"/>
              </a:spcBef>
              <a:spcAft>
                <a:spcPts val="0"/>
              </a:spcAft>
              <a:defRPr sz="1200">
                <a:latin typeface="+mn-lt"/>
              </a:defRPr>
            </a:lvl1pPr>
          </a:lstStyle>
          <a:p>
            <a:pPr>
              <a:defRPr/>
            </a:pPr>
            <a:endParaRPr lang="en-GB"/>
          </a:p>
        </p:txBody>
      </p:sp>
      <p:sp>
        <p:nvSpPr>
          <p:cNvPr id="3" name="Date Placeholder 2">
            <a:extLst>
              <a:ext uri="{FF2B5EF4-FFF2-40B4-BE49-F238E27FC236}">
                <a16:creationId xmlns:a16="http://schemas.microsoft.com/office/drawing/2014/main" id="{72B7BBD1-985C-4CEE-A06C-68DC382858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defTabSz="914377" eaLnBrk="1" fontAlgn="auto" hangingPunct="1">
              <a:spcBef>
                <a:spcPts val="0"/>
              </a:spcBef>
              <a:spcAft>
                <a:spcPts val="0"/>
              </a:spcAft>
              <a:defRPr sz="1200">
                <a:latin typeface="+mn-lt"/>
              </a:defRPr>
            </a:lvl1pPr>
          </a:lstStyle>
          <a:p>
            <a:pPr>
              <a:defRPr/>
            </a:pPr>
            <a:fld id="{67441303-D073-474E-8E58-BF907E51F5E9}" type="datetimeFigureOut">
              <a:rPr lang="en-GB"/>
              <a:pPr>
                <a:defRPr/>
              </a:pPr>
              <a:t>19/02/2025</a:t>
            </a:fld>
            <a:endParaRPr lang="en-GB"/>
          </a:p>
        </p:txBody>
      </p:sp>
      <p:sp>
        <p:nvSpPr>
          <p:cNvPr id="4" name="Footer Placeholder 3">
            <a:extLst>
              <a:ext uri="{FF2B5EF4-FFF2-40B4-BE49-F238E27FC236}">
                <a16:creationId xmlns:a16="http://schemas.microsoft.com/office/drawing/2014/main" id="{A7C1E4E9-552B-552B-66E0-F5F4FFFC167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defTabSz="914377" eaLnBrk="1" fontAlgn="auto" hangingPunct="1">
              <a:spcBef>
                <a:spcPts val="0"/>
              </a:spcBef>
              <a:spcAft>
                <a:spcPts val="0"/>
              </a:spcAft>
              <a:defRPr sz="1200">
                <a:latin typeface="+mn-lt"/>
              </a:defRPr>
            </a:lvl1pPr>
          </a:lstStyle>
          <a:p>
            <a:pPr>
              <a:defRPr/>
            </a:pPr>
            <a:endParaRPr lang="en-GB"/>
          </a:p>
        </p:txBody>
      </p:sp>
      <p:sp>
        <p:nvSpPr>
          <p:cNvPr id="5" name="Slide Number Placeholder 4">
            <a:extLst>
              <a:ext uri="{FF2B5EF4-FFF2-40B4-BE49-F238E27FC236}">
                <a16:creationId xmlns:a16="http://schemas.microsoft.com/office/drawing/2014/main" id="{7157C932-694A-1FE6-3B1A-7A0595E6C74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defTabSz="914377" eaLnBrk="1" fontAlgn="auto" hangingPunct="1">
              <a:spcBef>
                <a:spcPts val="0"/>
              </a:spcBef>
              <a:spcAft>
                <a:spcPts val="0"/>
              </a:spcAft>
              <a:defRPr sz="1200">
                <a:latin typeface="+mn-lt"/>
              </a:defRPr>
            </a:lvl1pPr>
          </a:lstStyle>
          <a:p>
            <a:pPr>
              <a:defRPr/>
            </a:pPr>
            <a:fld id="{34920F5A-9B14-4DD2-8D8F-71D286EEFEA1}" type="slidenum">
              <a:rPr lang="en-GB"/>
              <a:pPr>
                <a:defRPr/>
              </a:pPr>
              <a:t>‹#›</a:t>
            </a:fld>
            <a:endParaRPr lang="en-GB"/>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577FEA6-1EBD-4ECB-FDC3-D691B533870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defTabSz="914377" eaLnBrk="1" fontAlgn="auto" hangingPunct="1">
              <a:spcBef>
                <a:spcPts val="0"/>
              </a:spcBef>
              <a:spcAft>
                <a:spcPts val="0"/>
              </a:spcAft>
              <a:defRPr sz="1200">
                <a:latin typeface="+mn-lt"/>
              </a:defRPr>
            </a:lvl1pPr>
          </a:lstStyle>
          <a:p>
            <a:pPr>
              <a:defRPr/>
            </a:pPr>
            <a:endParaRPr lang="x-none"/>
          </a:p>
        </p:txBody>
      </p:sp>
      <p:sp>
        <p:nvSpPr>
          <p:cNvPr id="3" name="Date Placeholder 2">
            <a:extLst>
              <a:ext uri="{FF2B5EF4-FFF2-40B4-BE49-F238E27FC236}">
                <a16:creationId xmlns:a16="http://schemas.microsoft.com/office/drawing/2014/main" id="{C9B27157-7608-77CB-5CF2-A3F6C96BCAC4}"/>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defTabSz="914377" eaLnBrk="1" fontAlgn="auto" hangingPunct="1">
              <a:spcBef>
                <a:spcPts val="0"/>
              </a:spcBef>
              <a:spcAft>
                <a:spcPts val="0"/>
              </a:spcAft>
              <a:defRPr sz="1200">
                <a:latin typeface="+mn-lt"/>
              </a:defRPr>
            </a:lvl1pPr>
          </a:lstStyle>
          <a:p>
            <a:pPr>
              <a:defRPr/>
            </a:pPr>
            <a:fld id="{655F3852-267F-4DA1-8D35-D84B8D7F4AD0}" type="datetimeFigureOut">
              <a:rPr lang="en-US"/>
              <a:pPr>
                <a:defRPr/>
              </a:pPr>
              <a:t>2/19/2025</a:t>
            </a:fld>
            <a:endParaRPr lang="x-none"/>
          </a:p>
        </p:txBody>
      </p:sp>
      <p:sp>
        <p:nvSpPr>
          <p:cNvPr id="4" name="Slide Image Placeholder 3">
            <a:extLst>
              <a:ext uri="{FF2B5EF4-FFF2-40B4-BE49-F238E27FC236}">
                <a16:creationId xmlns:a16="http://schemas.microsoft.com/office/drawing/2014/main" id="{BD8C1F53-F7F9-77D4-BA42-FB343320365E}"/>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x-none" noProof="0"/>
          </a:p>
        </p:txBody>
      </p:sp>
      <p:sp>
        <p:nvSpPr>
          <p:cNvPr id="5" name="Notes Placeholder 4">
            <a:extLst>
              <a:ext uri="{FF2B5EF4-FFF2-40B4-BE49-F238E27FC236}">
                <a16:creationId xmlns:a16="http://schemas.microsoft.com/office/drawing/2014/main" id="{AAED7C81-E9DD-64F2-42F5-26B87B6FF83E}"/>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x-none" noProof="0"/>
          </a:p>
        </p:txBody>
      </p:sp>
      <p:sp>
        <p:nvSpPr>
          <p:cNvPr id="6" name="Footer Placeholder 5">
            <a:extLst>
              <a:ext uri="{FF2B5EF4-FFF2-40B4-BE49-F238E27FC236}">
                <a16:creationId xmlns:a16="http://schemas.microsoft.com/office/drawing/2014/main" id="{6A0C6A50-EF26-41DD-6BDB-633A84E8FB13}"/>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defTabSz="914377" eaLnBrk="1" fontAlgn="auto" hangingPunct="1">
              <a:spcBef>
                <a:spcPts val="0"/>
              </a:spcBef>
              <a:spcAft>
                <a:spcPts val="0"/>
              </a:spcAft>
              <a:defRPr sz="1200">
                <a:latin typeface="+mn-lt"/>
              </a:defRPr>
            </a:lvl1pPr>
          </a:lstStyle>
          <a:p>
            <a:pPr>
              <a:defRPr/>
            </a:pPr>
            <a:endParaRPr lang="x-none"/>
          </a:p>
        </p:txBody>
      </p:sp>
      <p:sp>
        <p:nvSpPr>
          <p:cNvPr id="7" name="Slide Number Placeholder 6">
            <a:extLst>
              <a:ext uri="{FF2B5EF4-FFF2-40B4-BE49-F238E27FC236}">
                <a16:creationId xmlns:a16="http://schemas.microsoft.com/office/drawing/2014/main" id="{243F87EF-7F4F-3F61-CBE0-30BC7FB8D35F}"/>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defTabSz="914377" eaLnBrk="1" fontAlgn="auto" hangingPunct="1">
              <a:spcBef>
                <a:spcPts val="0"/>
              </a:spcBef>
              <a:spcAft>
                <a:spcPts val="0"/>
              </a:spcAft>
              <a:defRPr sz="1200">
                <a:latin typeface="+mn-lt"/>
              </a:defRPr>
            </a:lvl1pPr>
          </a:lstStyle>
          <a:p>
            <a:pPr>
              <a:defRPr/>
            </a:pPr>
            <a:fld id="{2895569F-FE69-43EF-873C-55E296903EE6}" type="slidenum">
              <a:rPr lang="x-none"/>
              <a:pPr>
                <a:defRPr/>
              </a:pPr>
              <a:t>‹#›</a:t>
            </a:fld>
            <a:endParaRPr lang="x-none"/>
          </a:p>
        </p:txBody>
      </p:sp>
    </p:spTree>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886" algn="l" defTabSz="914354" rtl="0" eaLnBrk="1" latinLnBrk="0" hangingPunct="1">
      <a:defRPr sz="1200" kern="1200">
        <a:solidFill>
          <a:schemeClr val="tx1"/>
        </a:solidFill>
        <a:latin typeface="+mn-lt"/>
        <a:ea typeface="+mn-ea"/>
        <a:cs typeface="+mn-cs"/>
      </a:defRPr>
    </a:lvl6pPr>
    <a:lvl7pPr marL="2743062" algn="l" defTabSz="914354" rtl="0" eaLnBrk="1" latinLnBrk="0" hangingPunct="1">
      <a:defRPr sz="1200" kern="1200">
        <a:solidFill>
          <a:schemeClr val="tx1"/>
        </a:solidFill>
        <a:latin typeface="+mn-lt"/>
        <a:ea typeface="+mn-ea"/>
        <a:cs typeface="+mn-cs"/>
      </a:defRPr>
    </a:lvl7pPr>
    <a:lvl8pPr marL="3200240" algn="l" defTabSz="914354" rtl="0" eaLnBrk="1" latinLnBrk="0" hangingPunct="1">
      <a:defRPr sz="1200" kern="1200">
        <a:solidFill>
          <a:schemeClr val="tx1"/>
        </a:solidFill>
        <a:latin typeface="+mn-lt"/>
        <a:ea typeface="+mn-ea"/>
        <a:cs typeface="+mn-cs"/>
      </a:defRPr>
    </a:lvl8pPr>
    <a:lvl9pPr marL="3657418" algn="l" defTabSz="91435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65887" rtl="0" eaLnBrk="1" fontAlgn="auto" latinLnBrk="0" hangingPunct="1">
              <a:lnSpc>
                <a:spcPct val="100000"/>
              </a:lnSpc>
              <a:spcBef>
                <a:spcPts val="0"/>
              </a:spcBef>
              <a:spcAft>
                <a:spcPts val="0"/>
              </a:spcAft>
              <a:buClrTx/>
              <a:buSzTx/>
              <a:buFontTx/>
              <a:buNone/>
              <a:tabLst/>
              <a:defRPr/>
            </a:pPr>
            <a:r>
              <a:rPr lang="en-GB" b="1" dirty="0">
                <a:latin typeface="Calibri" panose="020F0502020204030204" pitchFamily="34" charset="0"/>
              </a:rPr>
              <a:t>Agenda</a:t>
            </a:r>
            <a:r>
              <a:rPr lang="en-GB" b="1" baseline="0" dirty="0">
                <a:latin typeface="Calibri" panose="020F0502020204030204" pitchFamily="34" charset="0"/>
              </a:rPr>
              <a:t> Title</a:t>
            </a:r>
            <a:r>
              <a:rPr lang="en-GB" b="1" dirty="0">
                <a:latin typeface="Calibri" panose="020F0502020204030204" pitchFamily="34" charset="0"/>
              </a:rPr>
              <a:t> Font: </a:t>
            </a:r>
            <a:r>
              <a:rPr lang="en-GB" dirty="0">
                <a:latin typeface="Calibri" panose="020F0502020204030204" pitchFamily="34" charset="0"/>
              </a:rPr>
              <a:t>Arial bold 36pt white</a:t>
            </a:r>
            <a:r>
              <a:rPr lang="en-GB" baseline="0" dirty="0">
                <a:latin typeface="Calibri" panose="020F0502020204030204" pitchFamily="34" charset="0"/>
              </a:rPr>
              <a:t>  </a:t>
            </a:r>
            <a:r>
              <a:rPr lang="en-GB" b="1" baseline="0" dirty="0">
                <a:latin typeface="Calibri" panose="020F0502020204030204" pitchFamily="34" charset="0"/>
              </a:rPr>
              <a:t>Agenda Item Font:  </a:t>
            </a:r>
            <a:r>
              <a:rPr lang="en-GB" baseline="0" dirty="0">
                <a:latin typeface="Calibri" panose="020F0502020204030204" pitchFamily="34" charset="0"/>
              </a:rPr>
              <a:t>Arial bold 18pt white</a:t>
            </a:r>
            <a:endParaRPr lang="en-US" dirty="0"/>
          </a:p>
          <a:p>
            <a:endParaRPr lang="x-none" dirty="0"/>
          </a:p>
        </p:txBody>
      </p:sp>
      <p:sp>
        <p:nvSpPr>
          <p:cNvPr id="4" name="Slide Number Placeholder 3"/>
          <p:cNvSpPr>
            <a:spLocks noGrp="1"/>
          </p:cNvSpPr>
          <p:nvPr>
            <p:ph type="sldNum" sz="quarter" idx="5"/>
          </p:nvPr>
        </p:nvSpPr>
        <p:spPr/>
        <p:txBody>
          <a:bodyPr/>
          <a:lstStyle/>
          <a:p>
            <a:fld id="{4FBA0A77-9B01-C145-A2C6-946331995F8E}" type="slidenum">
              <a:rPr lang="x-none" smtClean="0"/>
              <a:t>3</a:t>
            </a:fld>
            <a:endParaRPr lang="x-none"/>
          </a:p>
        </p:txBody>
      </p:sp>
    </p:spTree>
    <p:extLst>
      <p:ext uri="{BB962C8B-B14F-4D97-AF65-F5344CB8AC3E}">
        <p14:creationId xmlns:p14="http://schemas.microsoft.com/office/powerpoint/2010/main" val="553677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b="1" dirty="0">
                <a:latin typeface="Calibri" panose="020F0502020204030204" pitchFamily="34" charset="0"/>
              </a:rPr>
              <a:t>Agenda</a:t>
            </a:r>
            <a:r>
              <a:rPr lang="en-GB" b="1" baseline="0" dirty="0">
                <a:latin typeface="Calibri" panose="020F0502020204030204" pitchFamily="34" charset="0"/>
              </a:rPr>
              <a:t> Title</a:t>
            </a:r>
            <a:r>
              <a:rPr lang="en-GB" b="1" dirty="0">
                <a:latin typeface="Calibri" panose="020F0502020204030204" pitchFamily="34" charset="0"/>
              </a:rPr>
              <a:t> Font: </a:t>
            </a:r>
            <a:r>
              <a:rPr lang="en-GB" dirty="0">
                <a:latin typeface="Calibri" panose="020F0502020204030204" pitchFamily="34" charset="0"/>
              </a:rPr>
              <a:t>Arial bold 36pt black   </a:t>
            </a:r>
            <a:r>
              <a:rPr lang="en-GB" b="1" baseline="0" dirty="0">
                <a:latin typeface="Calibri" panose="020F0502020204030204" pitchFamily="34" charset="0"/>
              </a:rPr>
              <a:t>Agenda Item Font:  </a:t>
            </a:r>
            <a:r>
              <a:rPr lang="en-GB" baseline="0" dirty="0">
                <a:latin typeface="Calibri" panose="020F0502020204030204" pitchFamily="34" charset="0"/>
              </a:rPr>
              <a:t>Arial bold 18pt </a:t>
            </a:r>
            <a:r>
              <a:rPr lang="en-GB" dirty="0">
                <a:latin typeface="Calibri" panose="020F0502020204030204" pitchFamily="34" charset="0"/>
              </a:rPr>
              <a:t>black</a:t>
            </a:r>
            <a:endParaRPr lang="x-none" dirty="0"/>
          </a:p>
        </p:txBody>
      </p:sp>
      <p:sp>
        <p:nvSpPr>
          <p:cNvPr id="4" name="Slide Number Placeholder 3"/>
          <p:cNvSpPr>
            <a:spLocks noGrp="1"/>
          </p:cNvSpPr>
          <p:nvPr>
            <p:ph type="sldNum" sz="quarter" idx="5"/>
          </p:nvPr>
        </p:nvSpPr>
        <p:spPr/>
        <p:txBody>
          <a:bodyPr/>
          <a:lstStyle/>
          <a:p>
            <a:fld id="{4FBA0A77-9B01-C145-A2C6-946331995F8E}" type="slidenum">
              <a:rPr lang="x-none" smtClean="0"/>
              <a:t>4</a:t>
            </a:fld>
            <a:endParaRPr lang="x-none"/>
          </a:p>
        </p:txBody>
      </p:sp>
    </p:spTree>
    <p:extLst>
      <p:ext uri="{BB962C8B-B14F-4D97-AF65-F5344CB8AC3E}">
        <p14:creationId xmlns:p14="http://schemas.microsoft.com/office/powerpoint/2010/main" val="9031901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a:defRPr/>
            </a:pPr>
            <a:r>
              <a:rPr lang="en-GB" dirty="0">
                <a:latin typeface="Calibri" panose="020F0502020204030204" pitchFamily="34" charset="0"/>
              </a:rPr>
              <a:t>This is the standard title slide with space for customer logos. It’s used as the very first slide of a </a:t>
            </a:r>
            <a:r>
              <a:rPr lang="en-GB" dirty="0" err="1">
                <a:latin typeface="Calibri" panose="020F0502020204030204" pitchFamily="34" charset="0"/>
              </a:rPr>
              <a:t>Kuehne+Nagel</a:t>
            </a:r>
            <a:r>
              <a:rPr lang="en-GB" dirty="0">
                <a:latin typeface="Calibri" panose="020F0502020204030204" pitchFamily="34" charset="0"/>
              </a:rPr>
              <a:t> presentation. </a:t>
            </a:r>
          </a:p>
          <a:p>
            <a:pPr defTabSz="465887">
              <a:defRPr/>
            </a:pPr>
            <a:endParaRPr lang="en-GB" dirty="0">
              <a:latin typeface="Calibri" panose="020F0502020204030204" pitchFamily="34" charset="0"/>
            </a:endParaRPr>
          </a:p>
          <a:p>
            <a:pPr marL="0" marR="0" lvl="0" indent="0" algn="l" defTabSz="465887" rtl="0" eaLnBrk="1" fontAlgn="auto" latinLnBrk="0" hangingPunct="1">
              <a:lnSpc>
                <a:spcPct val="100000"/>
              </a:lnSpc>
              <a:spcBef>
                <a:spcPts val="0"/>
              </a:spcBef>
              <a:spcAft>
                <a:spcPts val="0"/>
              </a:spcAft>
              <a:buClrTx/>
              <a:buSzTx/>
              <a:buFontTx/>
              <a:buNone/>
              <a:tabLst/>
              <a:defRPr/>
            </a:pPr>
            <a:r>
              <a:rPr lang="en-GB" b="1" dirty="0">
                <a:latin typeface="Calibri" panose="020F0502020204030204" pitchFamily="34" charset="0"/>
              </a:rPr>
              <a:t>Date</a:t>
            </a:r>
            <a:r>
              <a:rPr lang="en-GB" b="1" baseline="0" dirty="0">
                <a:latin typeface="Calibri" panose="020F0502020204030204" pitchFamily="34" charset="0"/>
              </a:rPr>
              <a:t> Font: </a:t>
            </a:r>
            <a:r>
              <a:rPr lang="en-GB" dirty="0">
                <a:latin typeface="Calibri" panose="020F0502020204030204" pitchFamily="34" charset="0"/>
              </a:rPr>
              <a:t>Arial bold 18pt</a:t>
            </a:r>
            <a:r>
              <a:rPr lang="en-GB" baseline="0" dirty="0">
                <a:latin typeface="Calibri" panose="020F0502020204030204" pitchFamily="34" charset="0"/>
              </a:rPr>
              <a:t> white  </a:t>
            </a:r>
            <a:r>
              <a:rPr lang="en-GB" b="1" baseline="0" dirty="0">
                <a:latin typeface="Calibri" panose="020F0502020204030204" pitchFamily="34" charset="0"/>
              </a:rPr>
              <a:t> </a:t>
            </a:r>
            <a:r>
              <a:rPr lang="en-GB" b="1" dirty="0">
                <a:latin typeface="Calibri" panose="020F0502020204030204" pitchFamily="34" charset="0"/>
              </a:rPr>
              <a:t>Main Title Font: </a:t>
            </a:r>
            <a:r>
              <a:rPr lang="en-GB" dirty="0">
                <a:latin typeface="Calibri" panose="020F0502020204030204" pitchFamily="34" charset="0"/>
              </a:rPr>
              <a:t>Arial bold 36pt white  </a:t>
            </a:r>
            <a:r>
              <a:rPr lang="en-GB" b="1" dirty="0">
                <a:latin typeface="Calibri" panose="020F0502020204030204" pitchFamily="34" charset="0"/>
              </a:rPr>
              <a:t> Presentation</a:t>
            </a:r>
            <a:r>
              <a:rPr lang="en-GB" b="1" baseline="0" dirty="0">
                <a:latin typeface="Calibri" panose="020F0502020204030204" pitchFamily="34" charset="0"/>
              </a:rPr>
              <a:t> </a:t>
            </a:r>
            <a:r>
              <a:rPr lang="en-GB" b="1" dirty="0">
                <a:latin typeface="Calibri" panose="020F0502020204030204" pitchFamily="34" charset="0"/>
              </a:rPr>
              <a:t>Details Font: </a:t>
            </a:r>
            <a:r>
              <a:rPr lang="en-GB" dirty="0">
                <a:latin typeface="Calibri" panose="020F0502020204030204" pitchFamily="34" charset="0"/>
              </a:rPr>
              <a:t>Arial 24pt</a:t>
            </a:r>
            <a:r>
              <a:rPr lang="en-GB" baseline="0" dirty="0">
                <a:latin typeface="Calibri" panose="020F0502020204030204" pitchFamily="34" charset="0"/>
              </a:rPr>
              <a:t> white  </a:t>
            </a:r>
          </a:p>
          <a:p>
            <a:pPr marL="0" marR="0" lvl="0" indent="0" algn="l" defTabSz="465887" rtl="0" eaLnBrk="1" fontAlgn="auto" latinLnBrk="0" hangingPunct="1">
              <a:lnSpc>
                <a:spcPct val="100000"/>
              </a:lnSpc>
              <a:spcBef>
                <a:spcPts val="0"/>
              </a:spcBef>
              <a:spcAft>
                <a:spcPts val="0"/>
              </a:spcAft>
              <a:buClrTx/>
              <a:buSzTx/>
              <a:buFontTx/>
              <a:buNone/>
              <a:tabLst/>
              <a:defRPr/>
            </a:pPr>
            <a:endParaRPr lang="en-GB" b="1" baseline="0" dirty="0">
              <a:latin typeface="Calibri" panose="020F0502020204030204" pitchFamily="34" charset="0"/>
            </a:endParaRPr>
          </a:p>
          <a:p>
            <a:pPr marL="0" marR="0" lvl="0" indent="0" algn="l" defTabSz="465887" rtl="0" eaLnBrk="1" fontAlgn="auto" latinLnBrk="0" hangingPunct="1">
              <a:lnSpc>
                <a:spcPct val="100000"/>
              </a:lnSpc>
              <a:spcBef>
                <a:spcPts val="0"/>
              </a:spcBef>
              <a:spcAft>
                <a:spcPts val="0"/>
              </a:spcAft>
              <a:buClrTx/>
              <a:buSzTx/>
              <a:buFontTx/>
              <a:buNone/>
              <a:tabLst/>
              <a:defRPr/>
            </a:pPr>
            <a:r>
              <a:rPr lang="en-GB" b="1" dirty="0">
                <a:latin typeface="Calibri" panose="020F0502020204030204" pitchFamily="34" charset="0"/>
              </a:rPr>
              <a:t>To add a cobranding logo</a:t>
            </a:r>
            <a:r>
              <a:rPr lang="en-GB" dirty="0">
                <a:latin typeface="Calibri" panose="020F0502020204030204" pitchFamily="34" charset="0"/>
              </a:rPr>
              <a:t>, simply click on the image icon in the box and choose the logo you want </a:t>
            </a:r>
          </a:p>
          <a:p>
            <a:pPr marL="0" marR="0" lvl="0" indent="0" algn="l" defTabSz="465887" rtl="0" eaLnBrk="1" fontAlgn="auto" latinLnBrk="0" hangingPunct="1">
              <a:lnSpc>
                <a:spcPct val="100000"/>
              </a:lnSpc>
              <a:spcBef>
                <a:spcPts val="0"/>
              </a:spcBef>
              <a:spcAft>
                <a:spcPts val="0"/>
              </a:spcAft>
              <a:buClrTx/>
              <a:buSzTx/>
              <a:buFontTx/>
              <a:buNone/>
              <a:tabLst/>
              <a:defRPr/>
            </a:pPr>
            <a:r>
              <a:rPr lang="en-GB" dirty="0">
                <a:latin typeface="Calibri" panose="020F0502020204030204" pitchFamily="34" charset="0"/>
              </a:rPr>
              <a:t>to include  into one of these fields (starting on the left)
</a:t>
            </a:r>
            <a:r>
              <a:rPr lang="en-GB" i="1" dirty="0">
                <a:latin typeface="Calibri" panose="020F0502020204030204" pitchFamily="34" charset="0"/>
              </a:rPr>
              <a:t>
A logo or trademark is any photograph, word, or symbol used to identify a brand, service, or product. </a:t>
            </a:r>
          </a:p>
          <a:p>
            <a:pPr marL="0" marR="0" lvl="0" indent="0" algn="l" defTabSz="465887" rtl="0" eaLnBrk="1" fontAlgn="auto" latinLnBrk="0" hangingPunct="1">
              <a:lnSpc>
                <a:spcPct val="100000"/>
              </a:lnSpc>
              <a:spcBef>
                <a:spcPts val="0"/>
              </a:spcBef>
              <a:spcAft>
                <a:spcPts val="0"/>
              </a:spcAft>
              <a:buClrTx/>
              <a:buSzTx/>
              <a:buFontTx/>
              <a:buNone/>
              <a:tabLst/>
              <a:defRPr/>
            </a:pPr>
            <a:r>
              <a:rPr lang="en-GB" i="1" dirty="0">
                <a:latin typeface="Calibri" panose="020F0502020204030204" pitchFamily="34" charset="0"/>
              </a:rPr>
              <a:t>You need permission from its owner to use a logo. You can contact your local legal department if you need help to request and obtain the agreement.</a:t>
            </a:r>
          </a:p>
          <a:p>
            <a:pPr marL="0" marR="0" lvl="0" indent="0" algn="l" defTabSz="465887" rtl="0" eaLnBrk="1" fontAlgn="auto" latinLnBrk="0" hangingPunct="1">
              <a:lnSpc>
                <a:spcPct val="100000"/>
              </a:lnSpc>
              <a:spcBef>
                <a:spcPts val="0"/>
              </a:spcBef>
              <a:spcAft>
                <a:spcPts val="0"/>
              </a:spcAft>
              <a:buClrTx/>
              <a:buSzTx/>
              <a:buFontTx/>
              <a:buNone/>
              <a:tabLst/>
              <a:defRPr/>
            </a:pPr>
            <a:endParaRPr lang="en-GB" dirty="0">
              <a:latin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fld id="{4FBA0A77-9B01-C145-A2C6-946331995F8E}" type="slidenum">
              <a:rPr lang="x-none" smtClean="0"/>
              <a:t>5</a:t>
            </a:fld>
            <a:endParaRPr lang="x-none"/>
          </a:p>
        </p:txBody>
      </p:sp>
    </p:spTree>
    <p:extLst>
      <p:ext uri="{BB962C8B-B14F-4D97-AF65-F5344CB8AC3E}">
        <p14:creationId xmlns:p14="http://schemas.microsoft.com/office/powerpoint/2010/main" val="499140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b="1" dirty="0">
                <a:latin typeface="Calibri" panose="020F0502020204030204" pitchFamily="34" charset="0"/>
              </a:rPr>
              <a:t>Agenda</a:t>
            </a:r>
            <a:r>
              <a:rPr lang="en-GB" b="1" baseline="0" dirty="0">
                <a:latin typeface="Calibri" panose="020F0502020204030204" pitchFamily="34" charset="0"/>
              </a:rPr>
              <a:t> Title</a:t>
            </a:r>
            <a:r>
              <a:rPr lang="en-GB" b="1" dirty="0">
                <a:latin typeface="Calibri" panose="020F0502020204030204" pitchFamily="34" charset="0"/>
              </a:rPr>
              <a:t> Font: </a:t>
            </a:r>
            <a:r>
              <a:rPr lang="en-GB" dirty="0">
                <a:latin typeface="Calibri" panose="020F0502020204030204" pitchFamily="34" charset="0"/>
              </a:rPr>
              <a:t>Arial bold 36pt black   </a:t>
            </a:r>
            <a:r>
              <a:rPr lang="en-GB" b="1" baseline="0" dirty="0">
                <a:latin typeface="Calibri" panose="020F0502020204030204" pitchFamily="34" charset="0"/>
              </a:rPr>
              <a:t>Agenda Item Font:  </a:t>
            </a:r>
            <a:r>
              <a:rPr lang="en-GB" baseline="0" dirty="0">
                <a:latin typeface="Calibri" panose="020F0502020204030204" pitchFamily="34" charset="0"/>
              </a:rPr>
              <a:t>Arial bold 18pt </a:t>
            </a:r>
            <a:r>
              <a:rPr lang="en-GB" dirty="0">
                <a:latin typeface="Calibri" panose="020F0502020204030204" pitchFamily="34" charset="0"/>
              </a:rPr>
              <a:t>black</a:t>
            </a:r>
            <a:endParaRPr lang="x-none" dirty="0"/>
          </a:p>
        </p:txBody>
      </p:sp>
      <p:sp>
        <p:nvSpPr>
          <p:cNvPr id="4" name="Slide Number Placeholder 3"/>
          <p:cNvSpPr>
            <a:spLocks noGrp="1"/>
          </p:cNvSpPr>
          <p:nvPr>
            <p:ph type="sldNum" sz="quarter" idx="5"/>
          </p:nvPr>
        </p:nvSpPr>
        <p:spPr/>
        <p:txBody>
          <a:bodyPr/>
          <a:lstStyle/>
          <a:p>
            <a:fld id="{4FBA0A77-9B01-C145-A2C6-946331995F8E}" type="slidenum">
              <a:rPr lang="x-none" smtClean="0"/>
              <a:t>6</a:t>
            </a:fld>
            <a:endParaRPr lang="x-none"/>
          </a:p>
        </p:txBody>
      </p:sp>
    </p:spTree>
    <p:extLst>
      <p:ext uri="{BB962C8B-B14F-4D97-AF65-F5344CB8AC3E}">
        <p14:creationId xmlns:p14="http://schemas.microsoft.com/office/powerpoint/2010/main" val="34571495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b="1" dirty="0">
                <a:latin typeface="Calibri" panose="020F0502020204030204" pitchFamily="34" charset="0"/>
              </a:rPr>
              <a:t>Agenda</a:t>
            </a:r>
            <a:r>
              <a:rPr lang="en-GB" b="1" baseline="0" dirty="0">
                <a:latin typeface="Calibri" panose="020F0502020204030204" pitchFamily="34" charset="0"/>
              </a:rPr>
              <a:t> Title</a:t>
            </a:r>
            <a:r>
              <a:rPr lang="en-GB" b="1" dirty="0">
                <a:latin typeface="Calibri" panose="020F0502020204030204" pitchFamily="34" charset="0"/>
              </a:rPr>
              <a:t> Font: </a:t>
            </a:r>
            <a:r>
              <a:rPr lang="en-GB" dirty="0">
                <a:latin typeface="Calibri" panose="020F0502020204030204" pitchFamily="34" charset="0"/>
              </a:rPr>
              <a:t>Arial bold 36pt black   </a:t>
            </a:r>
            <a:r>
              <a:rPr lang="en-GB" b="1" baseline="0" dirty="0">
                <a:latin typeface="Calibri" panose="020F0502020204030204" pitchFamily="34" charset="0"/>
              </a:rPr>
              <a:t>Agenda Item Font:  </a:t>
            </a:r>
            <a:r>
              <a:rPr lang="en-GB" baseline="0" dirty="0">
                <a:latin typeface="Calibri" panose="020F0502020204030204" pitchFamily="34" charset="0"/>
              </a:rPr>
              <a:t>Arial bold 18pt </a:t>
            </a:r>
            <a:r>
              <a:rPr lang="en-GB" dirty="0">
                <a:latin typeface="Calibri" panose="020F0502020204030204" pitchFamily="34" charset="0"/>
              </a:rPr>
              <a:t>black</a:t>
            </a:r>
            <a:endParaRPr lang="x-none" dirty="0"/>
          </a:p>
        </p:txBody>
      </p:sp>
      <p:sp>
        <p:nvSpPr>
          <p:cNvPr id="4" name="Slide Number Placeholder 3"/>
          <p:cNvSpPr>
            <a:spLocks noGrp="1"/>
          </p:cNvSpPr>
          <p:nvPr>
            <p:ph type="sldNum" sz="quarter" idx="5"/>
          </p:nvPr>
        </p:nvSpPr>
        <p:spPr/>
        <p:txBody>
          <a:bodyPr/>
          <a:lstStyle/>
          <a:p>
            <a:fld id="{4FBA0A77-9B01-C145-A2C6-946331995F8E}" type="slidenum">
              <a:rPr lang="x-none" smtClean="0"/>
              <a:t>7</a:t>
            </a:fld>
            <a:endParaRPr lang="x-none"/>
          </a:p>
        </p:txBody>
      </p:sp>
    </p:spTree>
    <p:extLst>
      <p:ext uri="{BB962C8B-B14F-4D97-AF65-F5344CB8AC3E}">
        <p14:creationId xmlns:p14="http://schemas.microsoft.com/office/powerpoint/2010/main" val="2577471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b="1" dirty="0">
                <a:latin typeface="Calibri" panose="020F0502020204030204" pitchFamily="34" charset="0"/>
              </a:rPr>
              <a:t>Agenda</a:t>
            </a:r>
            <a:r>
              <a:rPr lang="en-GB" b="1" baseline="0" dirty="0">
                <a:latin typeface="Calibri" panose="020F0502020204030204" pitchFamily="34" charset="0"/>
              </a:rPr>
              <a:t> Title</a:t>
            </a:r>
            <a:r>
              <a:rPr lang="en-GB" b="1" dirty="0">
                <a:latin typeface="Calibri" panose="020F0502020204030204" pitchFamily="34" charset="0"/>
              </a:rPr>
              <a:t> Font: </a:t>
            </a:r>
            <a:r>
              <a:rPr lang="en-GB" dirty="0">
                <a:latin typeface="Calibri" panose="020F0502020204030204" pitchFamily="34" charset="0"/>
              </a:rPr>
              <a:t>Arial bold 36pt black   </a:t>
            </a:r>
            <a:r>
              <a:rPr lang="en-GB" b="1" baseline="0" dirty="0">
                <a:latin typeface="Calibri" panose="020F0502020204030204" pitchFamily="34" charset="0"/>
              </a:rPr>
              <a:t>Agenda Item Font:  </a:t>
            </a:r>
            <a:r>
              <a:rPr lang="en-GB" baseline="0" dirty="0">
                <a:latin typeface="Calibri" panose="020F0502020204030204" pitchFamily="34" charset="0"/>
              </a:rPr>
              <a:t>Arial bold 18pt </a:t>
            </a:r>
            <a:r>
              <a:rPr lang="en-GB" dirty="0">
                <a:latin typeface="Calibri" panose="020F0502020204030204" pitchFamily="34" charset="0"/>
              </a:rPr>
              <a:t>black</a:t>
            </a:r>
            <a:endParaRPr lang="x-none" dirty="0"/>
          </a:p>
        </p:txBody>
      </p:sp>
      <p:sp>
        <p:nvSpPr>
          <p:cNvPr id="4" name="Slide Number Placeholder 3"/>
          <p:cNvSpPr>
            <a:spLocks noGrp="1"/>
          </p:cNvSpPr>
          <p:nvPr>
            <p:ph type="sldNum" sz="quarter" idx="5"/>
          </p:nvPr>
        </p:nvSpPr>
        <p:spPr/>
        <p:txBody>
          <a:bodyPr/>
          <a:lstStyle/>
          <a:p>
            <a:fld id="{4FBA0A77-9B01-C145-A2C6-946331995F8E}" type="slidenum">
              <a:rPr lang="x-none" smtClean="0"/>
              <a:t>8</a:t>
            </a:fld>
            <a:endParaRPr lang="x-none"/>
          </a:p>
        </p:txBody>
      </p:sp>
    </p:spTree>
    <p:extLst>
      <p:ext uri="{BB962C8B-B14F-4D97-AF65-F5344CB8AC3E}">
        <p14:creationId xmlns:p14="http://schemas.microsoft.com/office/powerpoint/2010/main" val="635818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b="1" dirty="0">
                <a:latin typeface="Calibri" panose="020F0502020204030204" pitchFamily="34" charset="0"/>
              </a:rPr>
              <a:t>Agenda</a:t>
            </a:r>
            <a:r>
              <a:rPr lang="en-GB" b="1" baseline="0" dirty="0">
                <a:latin typeface="Calibri" panose="020F0502020204030204" pitchFamily="34" charset="0"/>
              </a:rPr>
              <a:t> Title</a:t>
            </a:r>
            <a:r>
              <a:rPr lang="en-GB" b="1" dirty="0">
                <a:latin typeface="Calibri" panose="020F0502020204030204" pitchFamily="34" charset="0"/>
              </a:rPr>
              <a:t> Font: </a:t>
            </a:r>
            <a:r>
              <a:rPr lang="en-GB" dirty="0">
                <a:latin typeface="Calibri" panose="020F0502020204030204" pitchFamily="34" charset="0"/>
              </a:rPr>
              <a:t>Arial bold 36pt black   </a:t>
            </a:r>
            <a:r>
              <a:rPr lang="en-GB" b="1" baseline="0" dirty="0">
                <a:latin typeface="Calibri" panose="020F0502020204030204" pitchFamily="34" charset="0"/>
              </a:rPr>
              <a:t>Agenda Item Font:  </a:t>
            </a:r>
            <a:r>
              <a:rPr lang="en-GB" baseline="0" dirty="0">
                <a:latin typeface="Calibri" panose="020F0502020204030204" pitchFamily="34" charset="0"/>
              </a:rPr>
              <a:t>Arial bold 18pt </a:t>
            </a:r>
            <a:r>
              <a:rPr lang="en-GB" dirty="0">
                <a:latin typeface="Calibri" panose="020F0502020204030204" pitchFamily="34" charset="0"/>
              </a:rPr>
              <a:t>black</a:t>
            </a:r>
            <a:endParaRPr lang="x-none" dirty="0"/>
          </a:p>
        </p:txBody>
      </p:sp>
      <p:sp>
        <p:nvSpPr>
          <p:cNvPr id="4" name="Slide Number Placeholder 3"/>
          <p:cNvSpPr>
            <a:spLocks noGrp="1"/>
          </p:cNvSpPr>
          <p:nvPr>
            <p:ph type="sldNum" sz="quarter" idx="5"/>
          </p:nvPr>
        </p:nvSpPr>
        <p:spPr/>
        <p:txBody>
          <a:bodyPr/>
          <a:lstStyle/>
          <a:p>
            <a:fld id="{4FBA0A77-9B01-C145-A2C6-946331995F8E}" type="slidenum">
              <a:rPr lang="x-none" smtClean="0"/>
              <a:t>9</a:t>
            </a:fld>
            <a:endParaRPr lang="x-none"/>
          </a:p>
        </p:txBody>
      </p:sp>
    </p:spTree>
    <p:extLst>
      <p:ext uri="{BB962C8B-B14F-4D97-AF65-F5344CB8AC3E}">
        <p14:creationId xmlns:p14="http://schemas.microsoft.com/office/powerpoint/2010/main" val="2042300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a:defRPr/>
            </a:pPr>
            <a:r>
              <a:rPr lang="en-GB" dirty="0">
                <a:latin typeface="Calibri" panose="020F0502020204030204" pitchFamily="34" charset="0"/>
              </a:rPr>
              <a:t>This is an</a:t>
            </a:r>
            <a:r>
              <a:rPr lang="en-GB" baseline="0" dirty="0">
                <a:latin typeface="Calibri" panose="020F0502020204030204" pitchFamily="34" charset="0"/>
              </a:rPr>
              <a:t> alternate </a:t>
            </a:r>
            <a:r>
              <a:rPr lang="en-GB" dirty="0">
                <a:latin typeface="Calibri" panose="020F0502020204030204" pitchFamily="34" charset="0"/>
              </a:rPr>
              <a:t>title slide. It’s used as the very first slide of a </a:t>
            </a:r>
            <a:r>
              <a:rPr lang="en-GB" dirty="0" err="1">
                <a:latin typeface="Calibri" panose="020F0502020204030204" pitchFamily="34" charset="0"/>
              </a:rPr>
              <a:t>Kuehne+Nagel</a:t>
            </a:r>
            <a:r>
              <a:rPr lang="en-GB" dirty="0">
                <a:latin typeface="Calibri" panose="020F0502020204030204" pitchFamily="34" charset="0"/>
              </a:rPr>
              <a:t> presentation. </a:t>
            </a:r>
          </a:p>
          <a:p>
            <a:pPr marL="0" marR="0" lvl="0" indent="0" algn="l" defTabSz="465887" rtl="0" eaLnBrk="1" fontAlgn="auto" latinLnBrk="0" hangingPunct="1">
              <a:lnSpc>
                <a:spcPct val="100000"/>
              </a:lnSpc>
              <a:spcBef>
                <a:spcPts val="0"/>
              </a:spcBef>
              <a:spcAft>
                <a:spcPts val="0"/>
              </a:spcAft>
              <a:buClrTx/>
              <a:buSzTx/>
              <a:buFontTx/>
              <a:buNone/>
              <a:tabLst/>
              <a:defRPr/>
            </a:pPr>
            <a:endParaRPr lang="en-GB" b="1" dirty="0">
              <a:latin typeface="Calibri" panose="020F0502020204030204" pitchFamily="34" charset="0"/>
            </a:endParaRPr>
          </a:p>
          <a:p>
            <a:pPr marL="0" marR="0" lvl="0" indent="0" algn="l" defTabSz="465887" rtl="0" eaLnBrk="1" fontAlgn="auto" latinLnBrk="0" hangingPunct="1">
              <a:lnSpc>
                <a:spcPct val="100000"/>
              </a:lnSpc>
              <a:spcBef>
                <a:spcPts val="0"/>
              </a:spcBef>
              <a:spcAft>
                <a:spcPts val="0"/>
              </a:spcAft>
              <a:buClrTx/>
              <a:buSzTx/>
              <a:buFontTx/>
              <a:buNone/>
              <a:tabLst/>
              <a:defRPr/>
            </a:pPr>
            <a:r>
              <a:rPr lang="en-GB" b="1" dirty="0">
                <a:latin typeface="Calibri" panose="020F0502020204030204" pitchFamily="34" charset="0"/>
              </a:rPr>
              <a:t>Date</a:t>
            </a:r>
            <a:r>
              <a:rPr lang="en-GB" b="1" baseline="0" dirty="0">
                <a:latin typeface="Calibri" panose="020F0502020204030204" pitchFamily="34" charset="0"/>
              </a:rPr>
              <a:t> Font: </a:t>
            </a:r>
            <a:r>
              <a:rPr lang="en-GB" dirty="0">
                <a:latin typeface="Calibri" panose="020F0502020204030204" pitchFamily="34" charset="0"/>
              </a:rPr>
              <a:t>Arial bold 18pt</a:t>
            </a:r>
            <a:r>
              <a:rPr lang="en-GB" baseline="0" dirty="0">
                <a:latin typeface="Calibri" panose="020F0502020204030204" pitchFamily="34" charset="0"/>
              </a:rPr>
              <a:t> white  </a:t>
            </a:r>
            <a:r>
              <a:rPr lang="en-GB" b="1" baseline="0" dirty="0">
                <a:latin typeface="Calibri" panose="020F0502020204030204" pitchFamily="34" charset="0"/>
              </a:rPr>
              <a:t> </a:t>
            </a:r>
            <a:r>
              <a:rPr lang="en-GB" b="1" dirty="0">
                <a:latin typeface="Calibri" panose="020F0502020204030204" pitchFamily="34" charset="0"/>
              </a:rPr>
              <a:t>Main Title Font: </a:t>
            </a:r>
            <a:r>
              <a:rPr lang="en-GB" dirty="0">
                <a:latin typeface="Calibri" panose="020F0502020204030204" pitchFamily="34" charset="0"/>
              </a:rPr>
              <a:t>Arial bold 36pt white  </a:t>
            </a:r>
            <a:r>
              <a:rPr lang="en-GB" b="1" dirty="0">
                <a:latin typeface="Calibri" panose="020F0502020204030204" pitchFamily="34" charset="0"/>
              </a:rPr>
              <a:t> </a:t>
            </a:r>
          </a:p>
          <a:p>
            <a:pPr marL="0" marR="0" lvl="0" indent="0" algn="l" defTabSz="465887" rtl="0" eaLnBrk="1" fontAlgn="auto" latinLnBrk="0" hangingPunct="1">
              <a:lnSpc>
                <a:spcPct val="100000"/>
              </a:lnSpc>
              <a:spcBef>
                <a:spcPts val="0"/>
              </a:spcBef>
              <a:spcAft>
                <a:spcPts val="0"/>
              </a:spcAft>
              <a:buClrTx/>
              <a:buSzTx/>
              <a:buFontTx/>
              <a:buNone/>
              <a:tabLst/>
              <a:defRPr/>
            </a:pPr>
            <a:r>
              <a:rPr lang="en-GB" b="1" dirty="0">
                <a:latin typeface="Calibri" panose="020F0502020204030204" pitchFamily="34" charset="0"/>
              </a:rPr>
              <a:t>Presentation</a:t>
            </a:r>
            <a:r>
              <a:rPr lang="en-GB" b="1" baseline="0" dirty="0">
                <a:latin typeface="Calibri" panose="020F0502020204030204" pitchFamily="34" charset="0"/>
              </a:rPr>
              <a:t> </a:t>
            </a:r>
            <a:r>
              <a:rPr lang="en-GB" b="1" dirty="0">
                <a:latin typeface="Calibri" panose="020F0502020204030204" pitchFamily="34" charset="0"/>
              </a:rPr>
              <a:t>Details Font: </a:t>
            </a:r>
            <a:r>
              <a:rPr lang="en-GB" dirty="0">
                <a:latin typeface="Calibri" panose="020F0502020204030204" pitchFamily="34" charset="0"/>
              </a:rPr>
              <a:t>Arial 24pt</a:t>
            </a:r>
            <a:r>
              <a:rPr lang="en-GB" baseline="0" dirty="0">
                <a:latin typeface="Calibri" panose="020F0502020204030204" pitchFamily="34" charset="0"/>
              </a:rPr>
              <a:t> white  </a:t>
            </a:r>
            <a:endParaRPr lang="en-GB" dirty="0">
              <a:latin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fld id="{4FBA0A77-9B01-C145-A2C6-946331995F8E}" type="slidenum">
              <a:rPr lang="x-none" smtClean="0"/>
              <a:t>10</a:t>
            </a:fld>
            <a:endParaRPr lang="x-none"/>
          </a:p>
        </p:txBody>
      </p:sp>
    </p:spTree>
    <p:extLst>
      <p:ext uri="{BB962C8B-B14F-4D97-AF65-F5344CB8AC3E}">
        <p14:creationId xmlns:p14="http://schemas.microsoft.com/office/powerpoint/2010/main" val="27068129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_slide_blue_V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238EC46-D3FA-FDD7-5086-914431119C48}"/>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4" name="Freeform 5">
            <a:extLst>
              <a:ext uri="{FF2B5EF4-FFF2-40B4-BE49-F238E27FC236}">
                <a16:creationId xmlns:a16="http://schemas.microsoft.com/office/drawing/2014/main" id="{9F251F84-EBE9-2E20-15A2-8F4FAE4ECD26}"/>
              </a:ext>
            </a:extLst>
          </p:cNvPr>
          <p:cNvSpPr>
            <a:spLocks noEditPoints="1"/>
          </p:cNvSpPr>
          <p:nvPr/>
        </p:nvSpPr>
        <p:spPr bwMode="auto">
          <a:xfrm>
            <a:off x="8853488" y="569913"/>
            <a:ext cx="2760662" cy="550862"/>
          </a:xfrm>
          <a:custGeom>
            <a:avLst/>
            <a:gdLst>
              <a:gd name="T0" fmla="*/ 2481262 w 1739"/>
              <a:gd name="T1" fmla="*/ 161925 h 347"/>
              <a:gd name="T2" fmla="*/ 2501900 w 1739"/>
              <a:gd name="T3" fmla="*/ 207962 h 347"/>
              <a:gd name="T4" fmla="*/ 2454275 w 1739"/>
              <a:gd name="T5" fmla="*/ 188912 h 347"/>
              <a:gd name="T6" fmla="*/ 2386012 w 1739"/>
              <a:gd name="T7" fmla="*/ 533400 h 347"/>
              <a:gd name="T8" fmla="*/ 2532062 w 1739"/>
              <a:gd name="T9" fmla="*/ 546100 h 347"/>
              <a:gd name="T10" fmla="*/ 2624137 w 1739"/>
              <a:gd name="T11" fmla="*/ 449262 h 347"/>
              <a:gd name="T12" fmla="*/ 2554287 w 1739"/>
              <a:gd name="T13" fmla="*/ 309562 h 347"/>
              <a:gd name="T14" fmla="*/ 2541587 w 1739"/>
              <a:gd name="T15" fmla="*/ 207962 h 347"/>
              <a:gd name="T16" fmla="*/ 2527300 w 1739"/>
              <a:gd name="T17" fmla="*/ 144462 h 347"/>
              <a:gd name="T18" fmla="*/ 2455862 w 1739"/>
              <a:gd name="T19" fmla="*/ 133350 h 347"/>
              <a:gd name="T20" fmla="*/ 2417762 w 1739"/>
              <a:gd name="T21" fmla="*/ 188912 h 347"/>
              <a:gd name="T22" fmla="*/ 2409825 w 1739"/>
              <a:gd name="T23" fmla="*/ 273050 h 347"/>
              <a:gd name="T24" fmla="*/ 2363787 w 1739"/>
              <a:gd name="T25" fmla="*/ 468312 h 347"/>
              <a:gd name="T26" fmla="*/ 2214562 w 1739"/>
              <a:gd name="T27" fmla="*/ 193675 h 347"/>
              <a:gd name="T28" fmla="*/ 2327275 w 1739"/>
              <a:gd name="T29" fmla="*/ 47625 h 347"/>
              <a:gd name="T30" fmla="*/ 2482850 w 1739"/>
              <a:gd name="T31" fmla="*/ 0 h 347"/>
              <a:gd name="T32" fmla="*/ 2659062 w 1739"/>
              <a:gd name="T33" fmla="*/ 63500 h 347"/>
              <a:gd name="T34" fmla="*/ 2755900 w 1739"/>
              <a:gd name="T35" fmla="*/ 217487 h 347"/>
              <a:gd name="T36" fmla="*/ 2741612 w 1739"/>
              <a:gd name="T37" fmla="*/ 369887 h 347"/>
              <a:gd name="T38" fmla="*/ 2668587 w 1739"/>
              <a:gd name="T39" fmla="*/ 401637 h 347"/>
              <a:gd name="T40" fmla="*/ 2709862 w 1739"/>
              <a:gd name="T41" fmla="*/ 273050 h 347"/>
              <a:gd name="T42" fmla="*/ 2670175 w 1739"/>
              <a:gd name="T43" fmla="*/ 147637 h 347"/>
              <a:gd name="T44" fmla="*/ 2549525 w 1739"/>
              <a:gd name="T45" fmla="*/ 58737 h 347"/>
              <a:gd name="T46" fmla="*/ 2414587 w 1739"/>
              <a:gd name="T47" fmla="*/ 58737 h 347"/>
              <a:gd name="T48" fmla="*/ 2295525 w 1739"/>
              <a:gd name="T49" fmla="*/ 147637 h 347"/>
              <a:gd name="T50" fmla="*/ 2257425 w 1739"/>
              <a:gd name="T51" fmla="*/ 273050 h 347"/>
              <a:gd name="T52" fmla="*/ 2295525 w 1739"/>
              <a:gd name="T53" fmla="*/ 401637 h 347"/>
              <a:gd name="T54" fmla="*/ 2222500 w 1739"/>
              <a:gd name="T55" fmla="*/ 369887 h 347"/>
              <a:gd name="T56" fmla="*/ 1965325 w 1739"/>
              <a:gd name="T57" fmla="*/ 188912 h 347"/>
              <a:gd name="T58" fmla="*/ 1930400 w 1739"/>
              <a:gd name="T59" fmla="*/ 360362 h 347"/>
              <a:gd name="T60" fmla="*/ 1847850 w 1739"/>
              <a:gd name="T61" fmla="*/ 227012 h 347"/>
              <a:gd name="T62" fmla="*/ 1609725 w 1739"/>
              <a:gd name="T63" fmla="*/ 255587 h 347"/>
              <a:gd name="T64" fmla="*/ 1692275 w 1739"/>
              <a:gd name="T65" fmla="*/ 184150 h 347"/>
              <a:gd name="T66" fmla="*/ 1757362 w 1739"/>
              <a:gd name="T67" fmla="*/ 217487 h 347"/>
              <a:gd name="T68" fmla="*/ 1701800 w 1739"/>
              <a:gd name="T69" fmla="*/ 222250 h 347"/>
              <a:gd name="T70" fmla="*/ 1660525 w 1739"/>
              <a:gd name="T71" fmla="*/ 244475 h 347"/>
              <a:gd name="T72" fmla="*/ 1670050 w 1739"/>
              <a:gd name="T73" fmla="*/ 319087 h 347"/>
              <a:gd name="T74" fmla="*/ 1724025 w 1739"/>
              <a:gd name="T75" fmla="*/ 296862 h 347"/>
              <a:gd name="T76" fmla="*/ 1733550 w 1739"/>
              <a:gd name="T77" fmla="*/ 360362 h 347"/>
              <a:gd name="T78" fmla="*/ 1630362 w 1739"/>
              <a:gd name="T79" fmla="*/ 342900 h 347"/>
              <a:gd name="T80" fmla="*/ 1509712 w 1739"/>
              <a:gd name="T81" fmla="*/ 234950 h 347"/>
              <a:gd name="T82" fmla="*/ 1552575 w 1739"/>
              <a:gd name="T83" fmla="*/ 360362 h 347"/>
              <a:gd name="T84" fmla="*/ 1290637 w 1739"/>
              <a:gd name="T85" fmla="*/ 258762 h 347"/>
              <a:gd name="T86" fmla="*/ 1249362 w 1739"/>
              <a:gd name="T87" fmla="*/ 188912 h 347"/>
              <a:gd name="T88" fmla="*/ 1149350 w 1739"/>
              <a:gd name="T89" fmla="*/ 269875 h 347"/>
              <a:gd name="T90" fmla="*/ 1054100 w 1739"/>
              <a:gd name="T91" fmla="*/ 292100 h 347"/>
              <a:gd name="T92" fmla="*/ 1020762 w 1739"/>
              <a:gd name="T93" fmla="*/ 255587 h 347"/>
              <a:gd name="T94" fmla="*/ 712787 w 1739"/>
              <a:gd name="T95" fmla="*/ 360362 h 347"/>
              <a:gd name="T96" fmla="*/ 822325 w 1739"/>
              <a:gd name="T97" fmla="*/ 290512 h 347"/>
              <a:gd name="T98" fmla="*/ 628650 w 1739"/>
              <a:gd name="T99" fmla="*/ 295275 h 347"/>
              <a:gd name="T100" fmla="*/ 566737 w 1739"/>
              <a:gd name="T101" fmla="*/ 188912 h 347"/>
              <a:gd name="T102" fmla="*/ 401637 w 1739"/>
              <a:gd name="T103" fmla="*/ 292100 h 347"/>
              <a:gd name="T104" fmla="*/ 357187 w 1739"/>
              <a:gd name="T105" fmla="*/ 188912 h 347"/>
              <a:gd name="T106" fmla="*/ 192087 w 1739"/>
              <a:gd name="T107" fmla="*/ 347662 h 347"/>
              <a:gd name="T108" fmla="*/ 273050 w 1739"/>
              <a:gd name="T109" fmla="*/ 361950 h 347"/>
              <a:gd name="T110" fmla="*/ 319087 w 1739"/>
              <a:gd name="T111" fmla="*/ 188912 h 347"/>
              <a:gd name="T112" fmla="*/ 246062 w 1739"/>
              <a:gd name="T113" fmla="*/ 325437 h 347"/>
              <a:gd name="T114" fmla="*/ 169862 w 1739"/>
              <a:gd name="T115" fmla="*/ 188912 h 347"/>
              <a:gd name="T116" fmla="*/ 153987 w 1739"/>
              <a:gd name="T117" fmla="*/ 360362 h 347"/>
              <a:gd name="T118" fmla="*/ 0 w 1739"/>
              <a:gd name="T119" fmla="*/ 360362 h 34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739" h="347">
                <a:moveTo>
                  <a:pt x="1546" y="119"/>
                </a:moveTo>
                <a:lnTo>
                  <a:pt x="1546" y="119"/>
                </a:lnTo>
                <a:lnTo>
                  <a:pt x="1547" y="113"/>
                </a:lnTo>
                <a:lnTo>
                  <a:pt x="1550" y="107"/>
                </a:lnTo>
                <a:lnTo>
                  <a:pt x="1557" y="103"/>
                </a:lnTo>
                <a:lnTo>
                  <a:pt x="1563" y="102"/>
                </a:lnTo>
                <a:lnTo>
                  <a:pt x="1570" y="103"/>
                </a:lnTo>
                <a:lnTo>
                  <a:pt x="1576" y="107"/>
                </a:lnTo>
                <a:lnTo>
                  <a:pt x="1580" y="113"/>
                </a:lnTo>
                <a:lnTo>
                  <a:pt x="1581" y="119"/>
                </a:lnTo>
                <a:lnTo>
                  <a:pt x="1580" y="126"/>
                </a:lnTo>
                <a:lnTo>
                  <a:pt x="1576" y="131"/>
                </a:lnTo>
                <a:lnTo>
                  <a:pt x="1570" y="135"/>
                </a:lnTo>
                <a:lnTo>
                  <a:pt x="1563" y="137"/>
                </a:lnTo>
                <a:lnTo>
                  <a:pt x="1557" y="135"/>
                </a:lnTo>
                <a:lnTo>
                  <a:pt x="1550" y="131"/>
                </a:lnTo>
                <a:lnTo>
                  <a:pt x="1547" y="126"/>
                </a:lnTo>
                <a:lnTo>
                  <a:pt x="1546" y="119"/>
                </a:lnTo>
                <a:close/>
                <a:moveTo>
                  <a:pt x="1451" y="306"/>
                </a:moveTo>
                <a:lnTo>
                  <a:pt x="1451" y="306"/>
                </a:lnTo>
                <a:lnTo>
                  <a:pt x="1463" y="315"/>
                </a:lnTo>
                <a:lnTo>
                  <a:pt x="1475" y="323"/>
                </a:lnTo>
                <a:lnTo>
                  <a:pt x="1489" y="330"/>
                </a:lnTo>
                <a:lnTo>
                  <a:pt x="1503" y="336"/>
                </a:lnTo>
                <a:lnTo>
                  <a:pt x="1518" y="341"/>
                </a:lnTo>
                <a:lnTo>
                  <a:pt x="1532" y="344"/>
                </a:lnTo>
                <a:lnTo>
                  <a:pt x="1547" y="345"/>
                </a:lnTo>
                <a:lnTo>
                  <a:pt x="1564" y="347"/>
                </a:lnTo>
                <a:lnTo>
                  <a:pt x="1580" y="345"/>
                </a:lnTo>
                <a:lnTo>
                  <a:pt x="1595" y="344"/>
                </a:lnTo>
                <a:lnTo>
                  <a:pt x="1609" y="341"/>
                </a:lnTo>
                <a:lnTo>
                  <a:pt x="1624" y="336"/>
                </a:lnTo>
                <a:lnTo>
                  <a:pt x="1638" y="330"/>
                </a:lnTo>
                <a:lnTo>
                  <a:pt x="1652" y="323"/>
                </a:lnTo>
                <a:lnTo>
                  <a:pt x="1664" y="315"/>
                </a:lnTo>
                <a:lnTo>
                  <a:pt x="1676" y="306"/>
                </a:lnTo>
                <a:lnTo>
                  <a:pt x="1653" y="283"/>
                </a:lnTo>
                <a:lnTo>
                  <a:pt x="1638" y="295"/>
                </a:lnTo>
                <a:lnTo>
                  <a:pt x="1619" y="306"/>
                </a:lnTo>
                <a:lnTo>
                  <a:pt x="1599" y="314"/>
                </a:lnTo>
                <a:lnTo>
                  <a:pt x="1580" y="317"/>
                </a:lnTo>
                <a:lnTo>
                  <a:pt x="1580" y="195"/>
                </a:lnTo>
                <a:lnTo>
                  <a:pt x="1609" y="195"/>
                </a:lnTo>
                <a:lnTo>
                  <a:pt x="1609" y="172"/>
                </a:lnTo>
                <a:lnTo>
                  <a:pt x="1580" y="172"/>
                </a:lnTo>
                <a:lnTo>
                  <a:pt x="1580" y="154"/>
                </a:lnTo>
                <a:lnTo>
                  <a:pt x="1589" y="149"/>
                </a:lnTo>
                <a:lnTo>
                  <a:pt x="1596" y="142"/>
                </a:lnTo>
                <a:lnTo>
                  <a:pt x="1601" y="131"/>
                </a:lnTo>
                <a:lnTo>
                  <a:pt x="1603" y="125"/>
                </a:lnTo>
                <a:lnTo>
                  <a:pt x="1604" y="119"/>
                </a:lnTo>
                <a:lnTo>
                  <a:pt x="1603" y="111"/>
                </a:lnTo>
                <a:lnTo>
                  <a:pt x="1601" y="103"/>
                </a:lnTo>
                <a:lnTo>
                  <a:pt x="1596" y="97"/>
                </a:lnTo>
                <a:lnTo>
                  <a:pt x="1592" y="91"/>
                </a:lnTo>
                <a:lnTo>
                  <a:pt x="1586" y="87"/>
                </a:lnTo>
                <a:lnTo>
                  <a:pt x="1580" y="84"/>
                </a:lnTo>
                <a:lnTo>
                  <a:pt x="1572" y="81"/>
                </a:lnTo>
                <a:lnTo>
                  <a:pt x="1564" y="81"/>
                </a:lnTo>
                <a:lnTo>
                  <a:pt x="1555" y="81"/>
                </a:lnTo>
                <a:lnTo>
                  <a:pt x="1547" y="84"/>
                </a:lnTo>
                <a:lnTo>
                  <a:pt x="1541" y="87"/>
                </a:lnTo>
                <a:lnTo>
                  <a:pt x="1535" y="91"/>
                </a:lnTo>
                <a:lnTo>
                  <a:pt x="1530" y="97"/>
                </a:lnTo>
                <a:lnTo>
                  <a:pt x="1526" y="103"/>
                </a:lnTo>
                <a:lnTo>
                  <a:pt x="1524" y="111"/>
                </a:lnTo>
                <a:lnTo>
                  <a:pt x="1523" y="119"/>
                </a:lnTo>
                <a:lnTo>
                  <a:pt x="1524" y="125"/>
                </a:lnTo>
                <a:lnTo>
                  <a:pt x="1526" y="131"/>
                </a:lnTo>
                <a:lnTo>
                  <a:pt x="1530" y="142"/>
                </a:lnTo>
                <a:lnTo>
                  <a:pt x="1538" y="149"/>
                </a:lnTo>
                <a:lnTo>
                  <a:pt x="1547" y="154"/>
                </a:lnTo>
                <a:lnTo>
                  <a:pt x="1547" y="172"/>
                </a:lnTo>
                <a:lnTo>
                  <a:pt x="1518" y="172"/>
                </a:lnTo>
                <a:lnTo>
                  <a:pt x="1518" y="195"/>
                </a:lnTo>
                <a:lnTo>
                  <a:pt x="1547" y="195"/>
                </a:lnTo>
                <a:lnTo>
                  <a:pt x="1547" y="317"/>
                </a:lnTo>
                <a:lnTo>
                  <a:pt x="1527" y="314"/>
                </a:lnTo>
                <a:lnTo>
                  <a:pt x="1507" y="306"/>
                </a:lnTo>
                <a:lnTo>
                  <a:pt x="1489" y="295"/>
                </a:lnTo>
                <a:lnTo>
                  <a:pt x="1474" y="283"/>
                </a:lnTo>
                <a:lnTo>
                  <a:pt x="1451" y="306"/>
                </a:lnTo>
                <a:close/>
                <a:moveTo>
                  <a:pt x="1388" y="172"/>
                </a:moveTo>
                <a:lnTo>
                  <a:pt x="1388" y="172"/>
                </a:lnTo>
                <a:lnTo>
                  <a:pt x="1389" y="155"/>
                </a:lnTo>
                <a:lnTo>
                  <a:pt x="1392" y="137"/>
                </a:lnTo>
                <a:lnTo>
                  <a:pt x="1395" y="122"/>
                </a:lnTo>
                <a:lnTo>
                  <a:pt x="1402" y="105"/>
                </a:lnTo>
                <a:lnTo>
                  <a:pt x="1409" y="90"/>
                </a:lnTo>
                <a:lnTo>
                  <a:pt x="1418" y="76"/>
                </a:lnTo>
                <a:lnTo>
                  <a:pt x="1428" y="62"/>
                </a:lnTo>
                <a:lnTo>
                  <a:pt x="1440" y="50"/>
                </a:lnTo>
                <a:lnTo>
                  <a:pt x="1452" y="40"/>
                </a:lnTo>
                <a:lnTo>
                  <a:pt x="1466" y="30"/>
                </a:lnTo>
                <a:lnTo>
                  <a:pt x="1480" y="21"/>
                </a:lnTo>
                <a:lnTo>
                  <a:pt x="1495" y="14"/>
                </a:lnTo>
                <a:lnTo>
                  <a:pt x="1512" y="8"/>
                </a:lnTo>
                <a:lnTo>
                  <a:pt x="1529" y="5"/>
                </a:lnTo>
                <a:lnTo>
                  <a:pt x="1546" y="2"/>
                </a:lnTo>
                <a:lnTo>
                  <a:pt x="1564" y="0"/>
                </a:lnTo>
                <a:lnTo>
                  <a:pt x="1581" y="2"/>
                </a:lnTo>
                <a:lnTo>
                  <a:pt x="1599" y="5"/>
                </a:lnTo>
                <a:lnTo>
                  <a:pt x="1615" y="8"/>
                </a:lnTo>
                <a:lnTo>
                  <a:pt x="1632" y="14"/>
                </a:lnTo>
                <a:lnTo>
                  <a:pt x="1647" y="21"/>
                </a:lnTo>
                <a:lnTo>
                  <a:pt x="1661" y="30"/>
                </a:lnTo>
                <a:lnTo>
                  <a:pt x="1675" y="40"/>
                </a:lnTo>
                <a:lnTo>
                  <a:pt x="1687" y="50"/>
                </a:lnTo>
                <a:lnTo>
                  <a:pt x="1699" y="62"/>
                </a:lnTo>
                <a:lnTo>
                  <a:pt x="1708" y="76"/>
                </a:lnTo>
                <a:lnTo>
                  <a:pt x="1718" y="90"/>
                </a:lnTo>
                <a:lnTo>
                  <a:pt x="1725" y="105"/>
                </a:lnTo>
                <a:lnTo>
                  <a:pt x="1731" y="122"/>
                </a:lnTo>
                <a:lnTo>
                  <a:pt x="1736" y="137"/>
                </a:lnTo>
                <a:lnTo>
                  <a:pt x="1737" y="155"/>
                </a:lnTo>
                <a:lnTo>
                  <a:pt x="1739" y="172"/>
                </a:lnTo>
                <a:lnTo>
                  <a:pt x="1737" y="189"/>
                </a:lnTo>
                <a:lnTo>
                  <a:pt x="1736" y="204"/>
                </a:lnTo>
                <a:lnTo>
                  <a:pt x="1733" y="219"/>
                </a:lnTo>
                <a:lnTo>
                  <a:pt x="1727" y="233"/>
                </a:lnTo>
                <a:lnTo>
                  <a:pt x="1722" y="248"/>
                </a:lnTo>
                <a:lnTo>
                  <a:pt x="1714" y="260"/>
                </a:lnTo>
                <a:lnTo>
                  <a:pt x="1705" y="274"/>
                </a:lnTo>
                <a:lnTo>
                  <a:pt x="1696" y="286"/>
                </a:lnTo>
                <a:lnTo>
                  <a:pt x="1673" y="263"/>
                </a:lnTo>
                <a:lnTo>
                  <a:pt x="1681" y="253"/>
                </a:lnTo>
                <a:lnTo>
                  <a:pt x="1687" y="242"/>
                </a:lnTo>
                <a:lnTo>
                  <a:pt x="1693" y="231"/>
                </a:lnTo>
                <a:lnTo>
                  <a:pt x="1698" y="221"/>
                </a:lnTo>
                <a:lnTo>
                  <a:pt x="1701" y="209"/>
                </a:lnTo>
                <a:lnTo>
                  <a:pt x="1704" y="196"/>
                </a:lnTo>
                <a:lnTo>
                  <a:pt x="1705" y="184"/>
                </a:lnTo>
                <a:lnTo>
                  <a:pt x="1707" y="172"/>
                </a:lnTo>
                <a:lnTo>
                  <a:pt x="1705" y="158"/>
                </a:lnTo>
                <a:lnTo>
                  <a:pt x="1704" y="145"/>
                </a:lnTo>
                <a:lnTo>
                  <a:pt x="1699" y="131"/>
                </a:lnTo>
                <a:lnTo>
                  <a:pt x="1695" y="117"/>
                </a:lnTo>
                <a:lnTo>
                  <a:pt x="1688" y="105"/>
                </a:lnTo>
                <a:lnTo>
                  <a:pt x="1682" y="93"/>
                </a:lnTo>
                <a:lnTo>
                  <a:pt x="1673" y="82"/>
                </a:lnTo>
                <a:lnTo>
                  <a:pt x="1664" y="72"/>
                </a:lnTo>
                <a:lnTo>
                  <a:pt x="1655" y="62"/>
                </a:lnTo>
                <a:lnTo>
                  <a:pt x="1642" y="55"/>
                </a:lnTo>
                <a:lnTo>
                  <a:pt x="1632" y="47"/>
                </a:lnTo>
                <a:lnTo>
                  <a:pt x="1619" y="41"/>
                </a:lnTo>
                <a:lnTo>
                  <a:pt x="1606" y="37"/>
                </a:lnTo>
                <a:lnTo>
                  <a:pt x="1592" y="33"/>
                </a:lnTo>
                <a:lnTo>
                  <a:pt x="1578" y="30"/>
                </a:lnTo>
                <a:lnTo>
                  <a:pt x="1564" y="30"/>
                </a:lnTo>
                <a:lnTo>
                  <a:pt x="1549" y="30"/>
                </a:lnTo>
                <a:lnTo>
                  <a:pt x="1535" y="33"/>
                </a:lnTo>
                <a:lnTo>
                  <a:pt x="1521" y="37"/>
                </a:lnTo>
                <a:lnTo>
                  <a:pt x="1507" y="41"/>
                </a:lnTo>
                <a:lnTo>
                  <a:pt x="1495" y="47"/>
                </a:lnTo>
                <a:lnTo>
                  <a:pt x="1484" y="55"/>
                </a:lnTo>
                <a:lnTo>
                  <a:pt x="1474" y="62"/>
                </a:lnTo>
                <a:lnTo>
                  <a:pt x="1463" y="72"/>
                </a:lnTo>
                <a:lnTo>
                  <a:pt x="1454" y="82"/>
                </a:lnTo>
                <a:lnTo>
                  <a:pt x="1446" y="93"/>
                </a:lnTo>
                <a:lnTo>
                  <a:pt x="1438" y="105"/>
                </a:lnTo>
                <a:lnTo>
                  <a:pt x="1432" y="117"/>
                </a:lnTo>
                <a:lnTo>
                  <a:pt x="1428" y="131"/>
                </a:lnTo>
                <a:lnTo>
                  <a:pt x="1423" y="145"/>
                </a:lnTo>
                <a:lnTo>
                  <a:pt x="1422" y="158"/>
                </a:lnTo>
                <a:lnTo>
                  <a:pt x="1422" y="172"/>
                </a:lnTo>
                <a:lnTo>
                  <a:pt x="1422" y="184"/>
                </a:lnTo>
                <a:lnTo>
                  <a:pt x="1423" y="196"/>
                </a:lnTo>
                <a:lnTo>
                  <a:pt x="1426" y="209"/>
                </a:lnTo>
                <a:lnTo>
                  <a:pt x="1429" y="221"/>
                </a:lnTo>
                <a:lnTo>
                  <a:pt x="1434" y="231"/>
                </a:lnTo>
                <a:lnTo>
                  <a:pt x="1440" y="242"/>
                </a:lnTo>
                <a:lnTo>
                  <a:pt x="1446" y="253"/>
                </a:lnTo>
                <a:lnTo>
                  <a:pt x="1454" y="263"/>
                </a:lnTo>
                <a:lnTo>
                  <a:pt x="1431" y="286"/>
                </a:lnTo>
                <a:lnTo>
                  <a:pt x="1422" y="274"/>
                </a:lnTo>
                <a:lnTo>
                  <a:pt x="1412" y="260"/>
                </a:lnTo>
                <a:lnTo>
                  <a:pt x="1406" y="248"/>
                </a:lnTo>
                <a:lnTo>
                  <a:pt x="1400" y="233"/>
                </a:lnTo>
                <a:lnTo>
                  <a:pt x="1394" y="219"/>
                </a:lnTo>
                <a:lnTo>
                  <a:pt x="1391" y="204"/>
                </a:lnTo>
                <a:lnTo>
                  <a:pt x="1389" y="189"/>
                </a:lnTo>
                <a:lnTo>
                  <a:pt x="1388" y="172"/>
                </a:lnTo>
                <a:close/>
                <a:moveTo>
                  <a:pt x="1238" y="227"/>
                </a:moveTo>
                <a:lnTo>
                  <a:pt x="1238" y="119"/>
                </a:lnTo>
                <a:lnTo>
                  <a:pt x="1267" y="119"/>
                </a:lnTo>
                <a:lnTo>
                  <a:pt x="1267" y="202"/>
                </a:lnTo>
                <a:lnTo>
                  <a:pt x="1316" y="202"/>
                </a:lnTo>
                <a:lnTo>
                  <a:pt x="1316" y="227"/>
                </a:lnTo>
                <a:lnTo>
                  <a:pt x="1238" y="227"/>
                </a:lnTo>
                <a:close/>
                <a:moveTo>
                  <a:pt x="1136" y="227"/>
                </a:moveTo>
                <a:lnTo>
                  <a:pt x="1216" y="227"/>
                </a:lnTo>
                <a:lnTo>
                  <a:pt x="1216" y="202"/>
                </a:lnTo>
                <a:lnTo>
                  <a:pt x="1164" y="202"/>
                </a:lnTo>
                <a:lnTo>
                  <a:pt x="1164" y="184"/>
                </a:lnTo>
                <a:lnTo>
                  <a:pt x="1207" y="184"/>
                </a:lnTo>
                <a:lnTo>
                  <a:pt x="1207" y="161"/>
                </a:lnTo>
                <a:lnTo>
                  <a:pt x="1164" y="161"/>
                </a:lnTo>
                <a:lnTo>
                  <a:pt x="1164" y="143"/>
                </a:lnTo>
                <a:lnTo>
                  <a:pt x="1215" y="143"/>
                </a:lnTo>
                <a:lnTo>
                  <a:pt x="1215" y="119"/>
                </a:lnTo>
                <a:lnTo>
                  <a:pt x="1136" y="119"/>
                </a:lnTo>
                <a:lnTo>
                  <a:pt x="1136" y="227"/>
                </a:lnTo>
                <a:close/>
                <a:moveTo>
                  <a:pt x="1012" y="174"/>
                </a:moveTo>
                <a:lnTo>
                  <a:pt x="1012" y="174"/>
                </a:lnTo>
                <a:lnTo>
                  <a:pt x="1014" y="161"/>
                </a:lnTo>
                <a:lnTo>
                  <a:pt x="1017" y="151"/>
                </a:lnTo>
                <a:lnTo>
                  <a:pt x="1021" y="140"/>
                </a:lnTo>
                <a:lnTo>
                  <a:pt x="1027" y="132"/>
                </a:lnTo>
                <a:lnTo>
                  <a:pt x="1035" y="125"/>
                </a:lnTo>
                <a:lnTo>
                  <a:pt x="1044" y="120"/>
                </a:lnTo>
                <a:lnTo>
                  <a:pt x="1054" y="117"/>
                </a:lnTo>
                <a:lnTo>
                  <a:pt x="1066" y="116"/>
                </a:lnTo>
                <a:lnTo>
                  <a:pt x="1075" y="117"/>
                </a:lnTo>
                <a:lnTo>
                  <a:pt x="1083" y="119"/>
                </a:lnTo>
                <a:lnTo>
                  <a:pt x="1090" y="122"/>
                </a:lnTo>
                <a:lnTo>
                  <a:pt x="1096" y="125"/>
                </a:lnTo>
                <a:lnTo>
                  <a:pt x="1103" y="131"/>
                </a:lnTo>
                <a:lnTo>
                  <a:pt x="1107" y="137"/>
                </a:lnTo>
                <a:lnTo>
                  <a:pt x="1112" y="145"/>
                </a:lnTo>
                <a:lnTo>
                  <a:pt x="1113" y="154"/>
                </a:lnTo>
                <a:lnTo>
                  <a:pt x="1084" y="154"/>
                </a:lnTo>
                <a:lnTo>
                  <a:pt x="1081" y="146"/>
                </a:lnTo>
                <a:lnTo>
                  <a:pt x="1078" y="143"/>
                </a:lnTo>
                <a:lnTo>
                  <a:pt x="1072" y="140"/>
                </a:lnTo>
                <a:lnTo>
                  <a:pt x="1066" y="140"/>
                </a:lnTo>
                <a:lnTo>
                  <a:pt x="1061" y="140"/>
                </a:lnTo>
                <a:lnTo>
                  <a:pt x="1055" y="143"/>
                </a:lnTo>
                <a:lnTo>
                  <a:pt x="1052" y="146"/>
                </a:lnTo>
                <a:lnTo>
                  <a:pt x="1047" y="149"/>
                </a:lnTo>
                <a:lnTo>
                  <a:pt x="1046" y="154"/>
                </a:lnTo>
                <a:lnTo>
                  <a:pt x="1043" y="160"/>
                </a:lnTo>
                <a:lnTo>
                  <a:pt x="1041" y="174"/>
                </a:lnTo>
                <a:lnTo>
                  <a:pt x="1043" y="187"/>
                </a:lnTo>
                <a:lnTo>
                  <a:pt x="1046" y="192"/>
                </a:lnTo>
                <a:lnTo>
                  <a:pt x="1049" y="198"/>
                </a:lnTo>
                <a:lnTo>
                  <a:pt x="1052" y="201"/>
                </a:lnTo>
                <a:lnTo>
                  <a:pt x="1057" y="204"/>
                </a:lnTo>
                <a:lnTo>
                  <a:pt x="1061" y="207"/>
                </a:lnTo>
                <a:lnTo>
                  <a:pt x="1067" y="207"/>
                </a:lnTo>
                <a:lnTo>
                  <a:pt x="1078" y="205"/>
                </a:lnTo>
                <a:lnTo>
                  <a:pt x="1086" y="202"/>
                </a:lnTo>
                <a:lnTo>
                  <a:pt x="1086" y="187"/>
                </a:lnTo>
                <a:lnTo>
                  <a:pt x="1067" y="187"/>
                </a:lnTo>
                <a:lnTo>
                  <a:pt x="1067" y="167"/>
                </a:lnTo>
                <a:lnTo>
                  <a:pt x="1113" y="167"/>
                </a:lnTo>
                <a:lnTo>
                  <a:pt x="1113" y="215"/>
                </a:lnTo>
                <a:lnTo>
                  <a:pt x="1103" y="222"/>
                </a:lnTo>
                <a:lnTo>
                  <a:pt x="1092" y="227"/>
                </a:lnTo>
                <a:lnTo>
                  <a:pt x="1080" y="230"/>
                </a:lnTo>
                <a:lnTo>
                  <a:pt x="1070" y="231"/>
                </a:lnTo>
                <a:lnTo>
                  <a:pt x="1057" y="230"/>
                </a:lnTo>
                <a:lnTo>
                  <a:pt x="1046" y="227"/>
                </a:lnTo>
                <a:lnTo>
                  <a:pt x="1035" y="222"/>
                </a:lnTo>
                <a:lnTo>
                  <a:pt x="1027" y="216"/>
                </a:lnTo>
                <a:lnTo>
                  <a:pt x="1021" y="207"/>
                </a:lnTo>
                <a:lnTo>
                  <a:pt x="1017" y="198"/>
                </a:lnTo>
                <a:lnTo>
                  <a:pt x="1014" y="186"/>
                </a:lnTo>
                <a:lnTo>
                  <a:pt x="1012" y="174"/>
                </a:lnTo>
                <a:close/>
                <a:moveTo>
                  <a:pt x="937" y="189"/>
                </a:moveTo>
                <a:lnTo>
                  <a:pt x="951" y="148"/>
                </a:lnTo>
                <a:lnTo>
                  <a:pt x="965" y="189"/>
                </a:lnTo>
                <a:lnTo>
                  <a:pt x="937" y="189"/>
                </a:lnTo>
                <a:close/>
                <a:moveTo>
                  <a:pt x="894" y="227"/>
                </a:moveTo>
                <a:lnTo>
                  <a:pt x="925" y="227"/>
                </a:lnTo>
                <a:lnTo>
                  <a:pt x="929" y="210"/>
                </a:lnTo>
                <a:lnTo>
                  <a:pt x="972" y="210"/>
                </a:lnTo>
                <a:lnTo>
                  <a:pt x="978" y="227"/>
                </a:lnTo>
                <a:lnTo>
                  <a:pt x="1008" y="227"/>
                </a:lnTo>
                <a:lnTo>
                  <a:pt x="966" y="119"/>
                </a:lnTo>
                <a:lnTo>
                  <a:pt x="935" y="119"/>
                </a:lnTo>
                <a:lnTo>
                  <a:pt x="894" y="227"/>
                </a:lnTo>
                <a:close/>
                <a:moveTo>
                  <a:pt x="787" y="227"/>
                </a:moveTo>
                <a:lnTo>
                  <a:pt x="813" y="227"/>
                </a:lnTo>
                <a:lnTo>
                  <a:pt x="813" y="163"/>
                </a:lnTo>
                <a:lnTo>
                  <a:pt x="851" y="227"/>
                </a:lnTo>
                <a:lnTo>
                  <a:pt x="882" y="227"/>
                </a:lnTo>
                <a:lnTo>
                  <a:pt x="882" y="119"/>
                </a:lnTo>
                <a:lnTo>
                  <a:pt x="854" y="119"/>
                </a:lnTo>
                <a:lnTo>
                  <a:pt x="854" y="183"/>
                </a:lnTo>
                <a:lnTo>
                  <a:pt x="816" y="119"/>
                </a:lnTo>
                <a:lnTo>
                  <a:pt x="787" y="119"/>
                </a:lnTo>
                <a:lnTo>
                  <a:pt x="787" y="227"/>
                </a:lnTo>
                <a:close/>
                <a:moveTo>
                  <a:pt x="664" y="184"/>
                </a:moveTo>
                <a:lnTo>
                  <a:pt x="664" y="170"/>
                </a:lnTo>
                <a:lnTo>
                  <a:pt x="707" y="170"/>
                </a:lnTo>
                <a:lnTo>
                  <a:pt x="707" y="126"/>
                </a:lnTo>
                <a:lnTo>
                  <a:pt x="724" y="126"/>
                </a:lnTo>
                <a:lnTo>
                  <a:pt x="724" y="170"/>
                </a:lnTo>
                <a:lnTo>
                  <a:pt x="767" y="170"/>
                </a:lnTo>
                <a:lnTo>
                  <a:pt x="767" y="184"/>
                </a:lnTo>
                <a:lnTo>
                  <a:pt x="724" y="184"/>
                </a:lnTo>
                <a:lnTo>
                  <a:pt x="724" y="227"/>
                </a:lnTo>
                <a:lnTo>
                  <a:pt x="707" y="227"/>
                </a:lnTo>
                <a:lnTo>
                  <a:pt x="707" y="184"/>
                </a:lnTo>
                <a:lnTo>
                  <a:pt x="664" y="184"/>
                </a:lnTo>
                <a:close/>
                <a:moveTo>
                  <a:pt x="570" y="227"/>
                </a:moveTo>
                <a:lnTo>
                  <a:pt x="652" y="227"/>
                </a:lnTo>
                <a:lnTo>
                  <a:pt x="652" y="202"/>
                </a:lnTo>
                <a:lnTo>
                  <a:pt x="598" y="202"/>
                </a:lnTo>
                <a:lnTo>
                  <a:pt x="598" y="184"/>
                </a:lnTo>
                <a:lnTo>
                  <a:pt x="643" y="184"/>
                </a:lnTo>
                <a:lnTo>
                  <a:pt x="643" y="161"/>
                </a:lnTo>
                <a:lnTo>
                  <a:pt x="598" y="161"/>
                </a:lnTo>
                <a:lnTo>
                  <a:pt x="598" y="143"/>
                </a:lnTo>
                <a:lnTo>
                  <a:pt x="649" y="143"/>
                </a:lnTo>
                <a:lnTo>
                  <a:pt x="649" y="119"/>
                </a:lnTo>
                <a:lnTo>
                  <a:pt x="570" y="119"/>
                </a:lnTo>
                <a:lnTo>
                  <a:pt x="570" y="227"/>
                </a:lnTo>
                <a:close/>
                <a:moveTo>
                  <a:pt x="449" y="227"/>
                </a:moveTo>
                <a:lnTo>
                  <a:pt x="477" y="227"/>
                </a:lnTo>
                <a:lnTo>
                  <a:pt x="477" y="163"/>
                </a:lnTo>
                <a:lnTo>
                  <a:pt x="515" y="227"/>
                </a:lnTo>
                <a:lnTo>
                  <a:pt x="544" y="227"/>
                </a:lnTo>
                <a:lnTo>
                  <a:pt x="544" y="119"/>
                </a:lnTo>
                <a:lnTo>
                  <a:pt x="518" y="119"/>
                </a:lnTo>
                <a:lnTo>
                  <a:pt x="518" y="183"/>
                </a:lnTo>
                <a:lnTo>
                  <a:pt x="478" y="119"/>
                </a:lnTo>
                <a:lnTo>
                  <a:pt x="449" y="119"/>
                </a:lnTo>
                <a:lnTo>
                  <a:pt x="449" y="227"/>
                </a:lnTo>
                <a:close/>
                <a:moveTo>
                  <a:pt x="328" y="227"/>
                </a:moveTo>
                <a:lnTo>
                  <a:pt x="357" y="227"/>
                </a:lnTo>
                <a:lnTo>
                  <a:pt x="357" y="186"/>
                </a:lnTo>
                <a:lnTo>
                  <a:pt x="396" y="186"/>
                </a:lnTo>
                <a:lnTo>
                  <a:pt x="396" y="227"/>
                </a:lnTo>
                <a:lnTo>
                  <a:pt x="425" y="227"/>
                </a:lnTo>
                <a:lnTo>
                  <a:pt x="425" y="119"/>
                </a:lnTo>
                <a:lnTo>
                  <a:pt x="396" y="119"/>
                </a:lnTo>
                <a:lnTo>
                  <a:pt x="396" y="160"/>
                </a:lnTo>
                <a:lnTo>
                  <a:pt x="357" y="160"/>
                </a:lnTo>
                <a:lnTo>
                  <a:pt x="357" y="119"/>
                </a:lnTo>
                <a:lnTo>
                  <a:pt x="328" y="119"/>
                </a:lnTo>
                <a:lnTo>
                  <a:pt x="328" y="227"/>
                </a:lnTo>
                <a:close/>
                <a:moveTo>
                  <a:pt x="225" y="227"/>
                </a:moveTo>
                <a:lnTo>
                  <a:pt x="307" y="227"/>
                </a:lnTo>
                <a:lnTo>
                  <a:pt x="307" y="202"/>
                </a:lnTo>
                <a:lnTo>
                  <a:pt x="253" y="202"/>
                </a:lnTo>
                <a:lnTo>
                  <a:pt x="253" y="184"/>
                </a:lnTo>
                <a:lnTo>
                  <a:pt x="298" y="184"/>
                </a:lnTo>
                <a:lnTo>
                  <a:pt x="298" y="161"/>
                </a:lnTo>
                <a:lnTo>
                  <a:pt x="253" y="161"/>
                </a:lnTo>
                <a:lnTo>
                  <a:pt x="253" y="143"/>
                </a:lnTo>
                <a:lnTo>
                  <a:pt x="304" y="143"/>
                </a:lnTo>
                <a:lnTo>
                  <a:pt x="304" y="119"/>
                </a:lnTo>
                <a:lnTo>
                  <a:pt x="225" y="119"/>
                </a:lnTo>
                <a:lnTo>
                  <a:pt x="225" y="227"/>
                </a:lnTo>
                <a:close/>
                <a:moveTo>
                  <a:pt x="107" y="183"/>
                </a:moveTo>
                <a:lnTo>
                  <a:pt x="107" y="183"/>
                </a:lnTo>
                <a:lnTo>
                  <a:pt x="107" y="195"/>
                </a:lnTo>
                <a:lnTo>
                  <a:pt x="110" y="205"/>
                </a:lnTo>
                <a:lnTo>
                  <a:pt x="115" y="213"/>
                </a:lnTo>
                <a:lnTo>
                  <a:pt x="121" y="219"/>
                </a:lnTo>
                <a:lnTo>
                  <a:pt x="129" y="225"/>
                </a:lnTo>
                <a:lnTo>
                  <a:pt x="136" y="228"/>
                </a:lnTo>
                <a:lnTo>
                  <a:pt x="144" y="230"/>
                </a:lnTo>
                <a:lnTo>
                  <a:pt x="155" y="231"/>
                </a:lnTo>
                <a:lnTo>
                  <a:pt x="164" y="230"/>
                </a:lnTo>
                <a:lnTo>
                  <a:pt x="172" y="228"/>
                </a:lnTo>
                <a:lnTo>
                  <a:pt x="181" y="225"/>
                </a:lnTo>
                <a:lnTo>
                  <a:pt x="187" y="219"/>
                </a:lnTo>
                <a:lnTo>
                  <a:pt x="193" y="213"/>
                </a:lnTo>
                <a:lnTo>
                  <a:pt x="198" y="205"/>
                </a:lnTo>
                <a:lnTo>
                  <a:pt x="201" y="195"/>
                </a:lnTo>
                <a:lnTo>
                  <a:pt x="201" y="183"/>
                </a:lnTo>
                <a:lnTo>
                  <a:pt x="201" y="119"/>
                </a:lnTo>
                <a:lnTo>
                  <a:pt x="172" y="119"/>
                </a:lnTo>
                <a:lnTo>
                  <a:pt x="172" y="187"/>
                </a:lnTo>
                <a:lnTo>
                  <a:pt x="170" y="195"/>
                </a:lnTo>
                <a:lnTo>
                  <a:pt x="167" y="201"/>
                </a:lnTo>
                <a:lnTo>
                  <a:pt x="163" y="205"/>
                </a:lnTo>
                <a:lnTo>
                  <a:pt x="155" y="205"/>
                </a:lnTo>
                <a:lnTo>
                  <a:pt x="146" y="205"/>
                </a:lnTo>
                <a:lnTo>
                  <a:pt x="141" y="201"/>
                </a:lnTo>
                <a:lnTo>
                  <a:pt x="136" y="195"/>
                </a:lnTo>
                <a:lnTo>
                  <a:pt x="136" y="187"/>
                </a:lnTo>
                <a:lnTo>
                  <a:pt x="136" y="119"/>
                </a:lnTo>
                <a:lnTo>
                  <a:pt x="107" y="119"/>
                </a:lnTo>
                <a:lnTo>
                  <a:pt x="107" y="183"/>
                </a:lnTo>
                <a:close/>
                <a:moveTo>
                  <a:pt x="0" y="227"/>
                </a:moveTo>
                <a:lnTo>
                  <a:pt x="29" y="227"/>
                </a:lnTo>
                <a:lnTo>
                  <a:pt x="29" y="196"/>
                </a:lnTo>
                <a:lnTo>
                  <a:pt x="38" y="184"/>
                </a:lnTo>
                <a:lnTo>
                  <a:pt x="63" y="227"/>
                </a:lnTo>
                <a:lnTo>
                  <a:pt x="97" y="227"/>
                </a:lnTo>
                <a:lnTo>
                  <a:pt x="58" y="163"/>
                </a:lnTo>
                <a:lnTo>
                  <a:pt x="92" y="119"/>
                </a:lnTo>
                <a:lnTo>
                  <a:pt x="58" y="119"/>
                </a:lnTo>
                <a:lnTo>
                  <a:pt x="29" y="158"/>
                </a:lnTo>
                <a:lnTo>
                  <a:pt x="29" y="119"/>
                </a:lnTo>
                <a:lnTo>
                  <a:pt x="0" y="119"/>
                </a:lnTo>
                <a:lnTo>
                  <a:pt x="0" y="2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Text Placeholder 5"/>
          <p:cNvSpPr>
            <a:spLocks noGrp="1"/>
          </p:cNvSpPr>
          <p:nvPr>
            <p:ph type="body" sz="quarter" idx="12"/>
          </p:nvPr>
        </p:nvSpPr>
        <p:spPr>
          <a:xfrm>
            <a:off x="550862" y="3213715"/>
            <a:ext cx="8316914" cy="3096598"/>
          </a:xfrm>
          <a:prstGeom prst="rect">
            <a:avLst/>
          </a:prstGeom>
        </p:spPr>
        <p:txBody>
          <a:bodyPr>
            <a:noAutofit/>
          </a:bodyPr>
          <a:lstStyle>
            <a:lvl1pPr marL="0" indent="0">
              <a:lnSpc>
                <a:spcPct val="100000"/>
              </a:lnSpc>
              <a:spcBef>
                <a:spcPts val="0"/>
              </a:spcBef>
              <a:spcAft>
                <a:spcPts val="1200"/>
              </a:spcAft>
              <a:buNone/>
              <a:defRPr sz="2400" b="0" baseline="0">
                <a:solidFill>
                  <a:schemeClr val="bg1"/>
                </a:solidFill>
              </a:defRPr>
            </a:lvl1pPr>
          </a:lstStyle>
          <a:p>
            <a:pPr lvl="0"/>
            <a:r>
              <a:rPr lang="en-US" noProof="0"/>
              <a:t>Click to edit Master text styles</a:t>
            </a:r>
          </a:p>
        </p:txBody>
      </p:sp>
      <p:sp>
        <p:nvSpPr>
          <p:cNvPr id="2" name="Titel 1"/>
          <p:cNvSpPr>
            <a:spLocks noGrp="1"/>
          </p:cNvSpPr>
          <p:nvPr>
            <p:ph type="title"/>
          </p:nvPr>
        </p:nvSpPr>
        <p:spPr>
          <a:xfrm>
            <a:off x="550864" y="1991893"/>
            <a:ext cx="8316914" cy="1065940"/>
          </a:xfrm>
          <a:noFill/>
        </p:spPr>
        <p:txBody>
          <a:bodyPr>
            <a:noAutofit/>
          </a:bodyPr>
          <a:lstStyle>
            <a:lvl1pPr>
              <a:spcAft>
                <a:spcPts val="0"/>
              </a:spcAft>
              <a:defRPr lang="en-US" sz="3600" b="1" kern="1200" baseline="0" dirty="0">
                <a:solidFill>
                  <a:schemeClr val="bg1"/>
                </a:solidFill>
                <a:latin typeface="+mn-lt"/>
                <a:ea typeface="+mn-ea"/>
                <a:cs typeface="+mn-cs"/>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3068571945"/>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aster_text_layout">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550864" y="2005013"/>
            <a:ext cx="8316912" cy="4305301"/>
          </a:xfrm>
        </p:spPr>
        <p:txBody>
          <a:bodyPr>
            <a:noAutofit/>
          </a:bodyPr>
          <a:lstStyle>
            <a:lvl1pPr>
              <a:spcBef>
                <a:spcPts val="300"/>
              </a:spcBef>
              <a:spcAft>
                <a:spcPts val="300"/>
              </a:spcAft>
              <a:defRPr/>
            </a:lvl1pPr>
            <a:lvl2pPr>
              <a:spcBef>
                <a:spcPts val="300"/>
              </a:spcBef>
              <a:spcAft>
                <a:spcPts val="300"/>
              </a:spcAft>
              <a:defRPr baseline="0"/>
            </a:lvl2pPr>
            <a:lvl3pPr>
              <a:spcBef>
                <a:spcPts val="300"/>
              </a:spcBef>
              <a:spcAft>
                <a:spcPts val="300"/>
              </a:spcAft>
              <a:defRPr baseline="0"/>
            </a:lvl3pPr>
            <a:lvl4pPr>
              <a:spcBef>
                <a:spcPts val="300"/>
              </a:spcBef>
              <a:spcAft>
                <a:spcPts val="300"/>
              </a:spcAft>
              <a:defRPr baseline="0"/>
            </a:lvl4pPr>
            <a:lvl5pPr>
              <a:spcBef>
                <a:spcPts val="300"/>
              </a:spcBef>
              <a:spcAft>
                <a:spcPts val="300"/>
              </a:spcAf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itel 4"/>
          <p:cNvSpPr>
            <a:spLocks noGrp="1"/>
          </p:cNvSpPr>
          <p:nvPr>
            <p:ph type="title"/>
          </p:nvPr>
        </p:nvSpPr>
        <p:spPr>
          <a:xfrm>
            <a:off x="553321" y="550779"/>
            <a:ext cx="8314454" cy="864136"/>
          </a:xfrm>
        </p:spPr>
        <p:txBody>
          <a:bodyPr/>
          <a:lstStyle/>
          <a:p>
            <a:pPr lvl="0"/>
            <a:r>
              <a:rPr lang="en-US" noProof="0"/>
              <a:t>Click to edit Master title style</a:t>
            </a:r>
            <a:endParaRPr lang="de-DE" dirty="0"/>
          </a:p>
        </p:txBody>
      </p:sp>
      <p:sp>
        <p:nvSpPr>
          <p:cNvPr id="2" name="Slide Number Placeholder 3">
            <a:extLst>
              <a:ext uri="{FF2B5EF4-FFF2-40B4-BE49-F238E27FC236}">
                <a16:creationId xmlns:a16="http://schemas.microsoft.com/office/drawing/2014/main" id="{AB0C961B-C88E-E5AB-6E62-46B878F7736B}"/>
              </a:ext>
            </a:extLst>
          </p:cNvPr>
          <p:cNvSpPr>
            <a:spLocks noGrp="1"/>
          </p:cNvSpPr>
          <p:nvPr>
            <p:ph type="sldNum" sz="quarter" idx="14"/>
          </p:nvPr>
        </p:nvSpPr>
        <p:spPr/>
        <p:txBody>
          <a:bodyPr/>
          <a:lstStyle>
            <a:lvl1pPr algn="r">
              <a:defRPr sz="1000">
                <a:solidFill>
                  <a:srgbClr val="000000"/>
                </a:solidFill>
              </a:defRPr>
            </a:lvl1pPr>
          </a:lstStyle>
          <a:p>
            <a:pPr>
              <a:defRPr/>
            </a:pPr>
            <a:fld id="{393F97B5-864C-4607-994C-893606A8C691}" type="slidenum">
              <a:rPr lang="en-GB"/>
              <a:pPr>
                <a:defRPr/>
              </a:pPr>
              <a:t>‹#›</a:t>
            </a:fld>
            <a:endParaRPr lang="en-GB" dirty="0"/>
          </a:p>
        </p:txBody>
      </p:sp>
    </p:spTree>
    <p:extLst>
      <p:ext uri="{BB962C8B-B14F-4D97-AF65-F5344CB8AC3E}">
        <p14:creationId xmlns:p14="http://schemas.microsoft.com/office/powerpoint/2010/main" val="292760172"/>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ction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B14298-C32A-2DC7-548E-0D686D0011F3}"/>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5">
            <a:extLst>
              <a:ext uri="{FF2B5EF4-FFF2-40B4-BE49-F238E27FC236}">
                <a16:creationId xmlns:a16="http://schemas.microsoft.com/office/drawing/2014/main" id="{D34D94F5-5B9A-80BC-B749-37D16CFEFA87}"/>
              </a:ext>
            </a:extLst>
          </p:cNvPr>
          <p:cNvSpPr>
            <a:spLocks noEditPoints="1"/>
          </p:cNvSpPr>
          <p:nvPr/>
        </p:nvSpPr>
        <p:spPr bwMode="auto">
          <a:xfrm>
            <a:off x="9721850" y="558800"/>
            <a:ext cx="1908175" cy="379413"/>
          </a:xfrm>
          <a:custGeom>
            <a:avLst/>
            <a:gdLst>
              <a:gd name="T0" fmla="*/ 1714967 w 1196"/>
              <a:gd name="T1" fmla="*/ 111125 h 239"/>
              <a:gd name="T2" fmla="*/ 1729324 w 1196"/>
              <a:gd name="T3" fmla="*/ 142875 h 239"/>
              <a:gd name="T4" fmla="*/ 1695823 w 1196"/>
              <a:gd name="T5" fmla="*/ 130175 h 239"/>
              <a:gd name="T6" fmla="*/ 1649559 w 1196"/>
              <a:gd name="T7" fmla="*/ 368300 h 239"/>
              <a:gd name="T8" fmla="*/ 1750064 w 1196"/>
              <a:gd name="T9" fmla="*/ 376238 h 239"/>
              <a:gd name="T10" fmla="*/ 1813876 w 1196"/>
              <a:gd name="T11" fmla="*/ 309563 h 239"/>
              <a:gd name="T12" fmla="*/ 1764421 w 1196"/>
              <a:gd name="T13" fmla="*/ 212725 h 239"/>
              <a:gd name="T14" fmla="*/ 1756445 w 1196"/>
              <a:gd name="T15" fmla="*/ 142875 h 239"/>
              <a:gd name="T16" fmla="*/ 1746873 w 1196"/>
              <a:gd name="T17" fmla="*/ 100013 h 239"/>
              <a:gd name="T18" fmla="*/ 1697418 w 1196"/>
              <a:gd name="T19" fmla="*/ 92075 h 239"/>
              <a:gd name="T20" fmla="*/ 1670298 w 1196"/>
              <a:gd name="T21" fmla="*/ 130175 h 239"/>
              <a:gd name="T22" fmla="*/ 1665512 w 1196"/>
              <a:gd name="T23" fmla="*/ 187325 h 239"/>
              <a:gd name="T24" fmla="*/ 1633605 w 1196"/>
              <a:gd name="T25" fmla="*/ 322263 h 239"/>
              <a:gd name="T26" fmla="*/ 1531505 w 1196"/>
              <a:gd name="T27" fmla="*/ 133350 h 239"/>
              <a:gd name="T28" fmla="*/ 1608080 w 1196"/>
              <a:gd name="T29" fmla="*/ 33338 h 239"/>
              <a:gd name="T30" fmla="*/ 1716562 w 1196"/>
              <a:gd name="T31" fmla="*/ 0 h 239"/>
              <a:gd name="T32" fmla="*/ 1837806 w 1196"/>
              <a:gd name="T33" fmla="*/ 42863 h 239"/>
              <a:gd name="T34" fmla="*/ 1904809 w 1196"/>
              <a:gd name="T35" fmla="*/ 149225 h 239"/>
              <a:gd name="T36" fmla="*/ 1895237 w 1196"/>
              <a:gd name="T37" fmla="*/ 254000 h 239"/>
              <a:gd name="T38" fmla="*/ 1844187 w 1196"/>
              <a:gd name="T39" fmla="*/ 276225 h 239"/>
              <a:gd name="T40" fmla="*/ 1872903 w 1196"/>
              <a:gd name="T41" fmla="*/ 187325 h 239"/>
              <a:gd name="T42" fmla="*/ 1845783 w 1196"/>
              <a:gd name="T43" fmla="*/ 101600 h 239"/>
              <a:gd name="T44" fmla="*/ 1761231 w 1196"/>
              <a:gd name="T45" fmla="*/ 39688 h 239"/>
              <a:gd name="T46" fmla="*/ 1668702 w 1196"/>
              <a:gd name="T47" fmla="*/ 39688 h 239"/>
              <a:gd name="T48" fmla="*/ 1587341 w 1196"/>
              <a:gd name="T49" fmla="*/ 101600 h 239"/>
              <a:gd name="T50" fmla="*/ 1560221 w 1196"/>
              <a:gd name="T51" fmla="*/ 187325 h 239"/>
              <a:gd name="T52" fmla="*/ 1587341 w 1196"/>
              <a:gd name="T53" fmla="*/ 276225 h 239"/>
              <a:gd name="T54" fmla="*/ 1536291 w 1196"/>
              <a:gd name="T55" fmla="*/ 254000 h 239"/>
              <a:gd name="T56" fmla="*/ 1357615 w 1196"/>
              <a:gd name="T57" fmla="*/ 130175 h 239"/>
              <a:gd name="T58" fmla="*/ 1333686 w 1196"/>
              <a:gd name="T59" fmla="*/ 247650 h 239"/>
              <a:gd name="T60" fmla="*/ 1276254 w 1196"/>
              <a:gd name="T61" fmla="*/ 157163 h 239"/>
              <a:gd name="T62" fmla="*/ 1111936 w 1196"/>
              <a:gd name="T63" fmla="*/ 176213 h 239"/>
              <a:gd name="T64" fmla="*/ 1169368 w 1196"/>
              <a:gd name="T65" fmla="*/ 127000 h 239"/>
              <a:gd name="T66" fmla="*/ 1214037 w 1196"/>
              <a:gd name="T67" fmla="*/ 149225 h 239"/>
              <a:gd name="T68" fmla="*/ 1175749 w 1196"/>
              <a:gd name="T69" fmla="*/ 152400 h 239"/>
              <a:gd name="T70" fmla="*/ 1147033 w 1196"/>
              <a:gd name="T71" fmla="*/ 168275 h 239"/>
              <a:gd name="T72" fmla="*/ 1155010 w 1196"/>
              <a:gd name="T73" fmla="*/ 219075 h 239"/>
              <a:gd name="T74" fmla="*/ 1191702 w 1196"/>
              <a:gd name="T75" fmla="*/ 204788 h 239"/>
              <a:gd name="T76" fmla="*/ 1198084 w 1196"/>
              <a:gd name="T77" fmla="*/ 247650 h 239"/>
              <a:gd name="T78" fmla="*/ 1127890 w 1196"/>
              <a:gd name="T79" fmla="*/ 236538 h 239"/>
              <a:gd name="T80" fmla="*/ 1043338 w 1196"/>
              <a:gd name="T81" fmla="*/ 161925 h 239"/>
              <a:gd name="T82" fmla="*/ 1073649 w 1196"/>
              <a:gd name="T83" fmla="*/ 247650 h 239"/>
              <a:gd name="T84" fmla="*/ 891783 w 1196"/>
              <a:gd name="T85" fmla="*/ 177800 h 239"/>
              <a:gd name="T86" fmla="*/ 863067 w 1196"/>
              <a:gd name="T87" fmla="*/ 130175 h 239"/>
              <a:gd name="T88" fmla="*/ 794468 w 1196"/>
              <a:gd name="T89" fmla="*/ 185738 h 239"/>
              <a:gd name="T90" fmla="*/ 729060 w 1196"/>
              <a:gd name="T91" fmla="*/ 201613 h 239"/>
              <a:gd name="T92" fmla="*/ 705130 w 1196"/>
              <a:gd name="T93" fmla="*/ 176213 h 239"/>
              <a:gd name="T94" fmla="*/ 492953 w 1196"/>
              <a:gd name="T95" fmla="*/ 247650 h 239"/>
              <a:gd name="T96" fmla="*/ 567933 w 1196"/>
              <a:gd name="T97" fmla="*/ 200025 h 239"/>
              <a:gd name="T98" fmla="*/ 433926 w 1196"/>
              <a:gd name="T99" fmla="*/ 203200 h 239"/>
              <a:gd name="T100" fmla="*/ 392448 w 1196"/>
              <a:gd name="T101" fmla="*/ 130175 h 239"/>
              <a:gd name="T102" fmla="*/ 277585 w 1196"/>
              <a:gd name="T103" fmla="*/ 201613 h 239"/>
              <a:gd name="T104" fmla="*/ 247274 w 1196"/>
              <a:gd name="T105" fmla="*/ 130175 h 239"/>
              <a:gd name="T106" fmla="*/ 132411 w 1196"/>
              <a:gd name="T107" fmla="*/ 239713 h 239"/>
              <a:gd name="T108" fmla="*/ 188247 w 1196"/>
              <a:gd name="T109" fmla="*/ 249238 h 239"/>
              <a:gd name="T110" fmla="*/ 220154 w 1196"/>
              <a:gd name="T111" fmla="*/ 130175 h 239"/>
              <a:gd name="T112" fmla="*/ 170699 w 1196"/>
              <a:gd name="T113" fmla="*/ 225425 h 239"/>
              <a:gd name="T114" fmla="*/ 118054 w 1196"/>
              <a:gd name="T115" fmla="*/ 130175 h 239"/>
              <a:gd name="T116" fmla="*/ 105291 w 1196"/>
              <a:gd name="T117" fmla="*/ 247650 h 239"/>
              <a:gd name="T118" fmla="*/ 0 w 1196"/>
              <a:gd name="T119" fmla="*/ 247650 h 2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96" h="239">
                <a:moveTo>
                  <a:pt x="1063" y="82"/>
                </a:moveTo>
                <a:lnTo>
                  <a:pt x="1063" y="82"/>
                </a:lnTo>
                <a:lnTo>
                  <a:pt x="1064" y="78"/>
                </a:lnTo>
                <a:lnTo>
                  <a:pt x="1066" y="73"/>
                </a:lnTo>
                <a:lnTo>
                  <a:pt x="1070" y="71"/>
                </a:lnTo>
                <a:lnTo>
                  <a:pt x="1075" y="70"/>
                </a:lnTo>
                <a:lnTo>
                  <a:pt x="1080" y="71"/>
                </a:lnTo>
                <a:lnTo>
                  <a:pt x="1084" y="73"/>
                </a:lnTo>
                <a:lnTo>
                  <a:pt x="1086" y="78"/>
                </a:lnTo>
                <a:lnTo>
                  <a:pt x="1087" y="82"/>
                </a:lnTo>
                <a:lnTo>
                  <a:pt x="1086" y="87"/>
                </a:lnTo>
                <a:lnTo>
                  <a:pt x="1084" y="90"/>
                </a:lnTo>
                <a:lnTo>
                  <a:pt x="1080" y="93"/>
                </a:lnTo>
                <a:lnTo>
                  <a:pt x="1075" y="94"/>
                </a:lnTo>
                <a:lnTo>
                  <a:pt x="1070" y="93"/>
                </a:lnTo>
                <a:lnTo>
                  <a:pt x="1066" y="90"/>
                </a:lnTo>
                <a:lnTo>
                  <a:pt x="1064" y="87"/>
                </a:lnTo>
                <a:lnTo>
                  <a:pt x="1063" y="82"/>
                </a:lnTo>
                <a:close/>
                <a:moveTo>
                  <a:pt x="998" y="211"/>
                </a:moveTo>
                <a:lnTo>
                  <a:pt x="998" y="211"/>
                </a:lnTo>
                <a:lnTo>
                  <a:pt x="1006" y="217"/>
                </a:lnTo>
                <a:lnTo>
                  <a:pt x="1015" y="222"/>
                </a:lnTo>
                <a:lnTo>
                  <a:pt x="1024" y="227"/>
                </a:lnTo>
                <a:lnTo>
                  <a:pt x="1034" y="232"/>
                </a:lnTo>
                <a:lnTo>
                  <a:pt x="1044" y="235"/>
                </a:lnTo>
                <a:lnTo>
                  <a:pt x="1054" y="237"/>
                </a:lnTo>
                <a:lnTo>
                  <a:pt x="1064" y="238"/>
                </a:lnTo>
                <a:lnTo>
                  <a:pt x="1076" y="239"/>
                </a:lnTo>
                <a:lnTo>
                  <a:pt x="1086" y="238"/>
                </a:lnTo>
                <a:lnTo>
                  <a:pt x="1097" y="237"/>
                </a:lnTo>
                <a:lnTo>
                  <a:pt x="1106" y="235"/>
                </a:lnTo>
                <a:lnTo>
                  <a:pt x="1117" y="232"/>
                </a:lnTo>
                <a:lnTo>
                  <a:pt x="1126" y="227"/>
                </a:lnTo>
                <a:lnTo>
                  <a:pt x="1136" y="222"/>
                </a:lnTo>
                <a:lnTo>
                  <a:pt x="1144" y="217"/>
                </a:lnTo>
                <a:lnTo>
                  <a:pt x="1153" y="211"/>
                </a:lnTo>
                <a:lnTo>
                  <a:pt x="1137" y="195"/>
                </a:lnTo>
                <a:lnTo>
                  <a:pt x="1126" y="203"/>
                </a:lnTo>
                <a:lnTo>
                  <a:pt x="1114" y="211"/>
                </a:lnTo>
                <a:lnTo>
                  <a:pt x="1100" y="216"/>
                </a:lnTo>
                <a:lnTo>
                  <a:pt x="1086" y="218"/>
                </a:lnTo>
                <a:lnTo>
                  <a:pt x="1086" y="134"/>
                </a:lnTo>
                <a:lnTo>
                  <a:pt x="1106" y="134"/>
                </a:lnTo>
                <a:lnTo>
                  <a:pt x="1106" y="118"/>
                </a:lnTo>
                <a:lnTo>
                  <a:pt x="1086" y="118"/>
                </a:lnTo>
                <a:lnTo>
                  <a:pt x="1086" y="106"/>
                </a:lnTo>
                <a:lnTo>
                  <a:pt x="1093" y="103"/>
                </a:lnTo>
                <a:lnTo>
                  <a:pt x="1098" y="97"/>
                </a:lnTo>
                <a:lnTo>
                  <a:pt x="1101" y="90"/>
                </a:lnTo>
                <a:lnTo>
                  <a:pt x="1102" y="86"/>
                </a:lnTo>
                <a:lnTo>
                  <a:pt x="1103" y="82"/>
                </a:lnTo>
                <a:lnTo>
                  <a:pt x="1102" y="77"/>
                </a:lnTo>
                <a:lnTo>
                  <a:pt x="1101" y="71"/>
                </a:lnTo>
                <a:lnTo>
                  <a:pt x="1098" y="67"/>
                </a:lnTo>
                <a:lnTo>
                  <a:pt x="1095" y="63"/>
                </a:lnTo>
                <a:lnTo>
                  <a:pt x="1091" y="60"/>
                </a:lnTo>
                <a:lnTo>
                  <a:pt x="1086" y="58"/>
                </a:lnTo>
                <a:lnTo>
                  <a:pt x="1081" y="56"/>
                </a:lnTo>
                <a:lnTo>
                  <a:pt x="1076" y="56"/>
                </a:lnTo>
                <a:lnTo>
                  <a:pt x="1069" y="56"/>
                </a:lnTo>
                <a:lnTo>
                  <a:pt x="1064" y="58"/>
                </a:lnTo>
                <a:lnTo>
                  <a:pt x="1060" y="60"/>
                </a:lnTo>
                <a:lnTo>
                  <a:pt x="1056" y="63"/>
                </a:lnTo>
                <a:lnTo>
                  <a:pt x="1053" y="67"/>
                </a:lnTo>
                <a:lnTo>
                  <a:pt x="1049" y="71"/>
                </a:lnTo>
                <a:lnTo>
                  <a:pt x="1048" y="77"/>
                </a:lnTo>
                <a:lnTo>
                  <a:pt x="1047" y="82"/>
                </a:lnTo>
                <a:lnTo>
                  <a:pt x="1048" y="86"/>
                </a:lnTo>
                <a:lnTo>
                  <a:pt x="1049" y="90"/>
                </a:lnTo>
                <a:lnTo>
                  <a:pt x="1053" y="97"/>
                </a:lnTo>
                <a:lnTo>
                  <a:pt x="1058" y="103"/>
                </a:lnTo>
                <a:lnTo>
                  <a:pt x="1064" y="106"/>
                </a:lnTo>
                <a:lnTo>
                  <a:pt x="1064" y="118"/>
                </a:lnTo>
                <a:lnTo>
                  <a:pt x="1044" y="118"/>
                </a:lnTo>
                <a:lnTo>
                  <a:pt x="1044" y="134"/>
                </a:lnTo>
                <a:lnTo>
                  <a:pt x="1064" y="134"/>
                </a:lnTo>
                <a:lnTo>
                  <a:pt x="1064" y="218"/>
                </a:lnTo>
                <a:lnTo>
                  <a:pt x="1050" y="216"/>
                </a:lnTo>
                <a:lnTo>
                  <a:pt x="1037" y="211"/>
                </a:lnTo>
                <a:lnTo>
                  <a:pt x="1024" y="203"/>
                </a:lnTo>
                <a:lnTo>
                  <a:pt x="1014" y="195"/>
                </a:lnTo>
                <a:lnTo>
                  <a:pt x="998" y="211"/>
                </a:lnTo>
                <a:close/>
                <a:moveTo>
                  <a:pt x="954" y="118"/>
                </a:moveTo>
                <a:lnTo>
                  <a:pt x="954" y="118"/>
                </a:lnTo>
                <a:lnTo>
                  <a:pt x="956" y="107"/>
                </a:lnTo>
                <a:lnTo>
                  <a:pt x="958" y="94"/>
                </a:lnTo>
                <a:lnTo>
                  <a:pt x="960" y="84"/>
                </a:lnTo>
                <a:lnTo>
                  <a:pt x="964" y="72"/>
                </a:lnTo>
                <a:lnTo>
                  <a:pt x="969" y="62"/>
                </a:lnTo>
                <a:lnTo>
                  <a:pt x="976" y="52"/>
                </a:lnTo>
                <a:lnTo>
                  <a:pt x="982" y="43"/>
                </a:lnTo>
                <a:lnTo>
                  <a:pt x="990" y="35"/>
                </a:lnTo>
                <a:lnTo>
                  <a:pt x="999" y="27"/>
                </a:lnTo>
                <a:lnTo>
                  <a:pt x="1008" y="21"/>
                </a:lnTo>
                <a:lnTo>
                  <a:pt x="1018" y="15"/>
                </a:lnTo>
                <a:lnTo>
                  <a:pt x="1028" y="9"/>
                </a:lnTo>
                <a:lnTo>
                  <a:pt x="1040" y="5"/>
                </a:lnTo>
                <a:lnTo>
                  <a:pt x="1052" y="3"/>
                </a:lnTo>
                <a:lnTo>
                  <a:pt x="1063" y="1"/>
                </a:lnTo>
                <a:lnTo>
                  <a:pt x="1076" y="0"/>
                </a:lnTo>
                <a:lnTo>
                  <a:pt x="1087" y="1"/>
                </a:lnTo>
                <a:lnTo>
                  <a:pt x="1100" y="3"/>
                </a:lnTo>
                <a:lnTo>
                  <a:pt x="1111" y="5"/>
                </a:lnTo>
                <a:lnTo>
                  <a:pt x="1122" y="9"/>
                </a:lnTo>
                <a:lnTo>
                  <a:pt x="1133" y="15"/>
                </a:lnTo>
                <a:lnTo>
                  <a:pt x="1142" y="21"/>
                </a:lnTo>
                <a:lnTo>
                  <a:pt x="1152" y="27"/>
                </a:lnTo>
                <a:lnTo>
                  <a:pt x="1160" y="35"/>
                </a:lnTo>
                <a:lnTo>
                  <a:pt x="1169" y="43"/>
                </a:lnTo>
                <a:lnTo>
                  <a:pt x="1175" y="52"/>
                </a:lnTo>
                <a:lnTo>
                  <a:pt x="1181" y="62"/>
                </a:lnTo>
                <a:lnTo>
                  <a:pt x="1187" y="72"/>
                </a:lnTo>
                <a:lnTo>
                  <a:pt x="1191" y="84"/>
                </a:lnTo>
                <a:lnTo>
                  <a:pt x="1194" y="94"/>
                </a:lnTo>
                <a:lnTo>
                  <a:pt x="1195" y="107"/>
                </a:lnTo>
                <a:lnTo>
                  <a:pt x="1196" y="118"/>
                </a:lnTo>
                <a:lnTo>
                  <a:pt x="1195" y="130"/>
                </a:lnTo>
                <a:lnTo>
                  <a:pt x="1194" y="140"/>
                </a:lnTo>
                <a:lnTo>
                  <a:pt x="1192" y="151"/>
                </a:lnTo>
                <a:lnTo>
                  <a:pt x="1188" y="160"/>
                </a:lnTo>
                <a:lnTo>
                  <a:pt x="1184" y="171"/>
                </a:lnTo>
                <a:lnTo>
                  <a:pt x="1179" y="179"/>
                </a:lnTo>
                <a:lnTo>
                  <a:pt x="1173" y="189"/>
                </a:lnTo>
                <a:lnTo>
                  <a:pt x="1166" y="197"/>
                </a:lnTo>
                <a:lnTo>
                  <a:pt x="1151" y="181"/>
                </a:lnTo>
                <a:lnTo>
                  <a:pt x="1156" y="174"/>
                </a:lnTo>
                <a:lnTo>
                  <a:pt x="1160" y="167"/>
                </a:lnTo>
                <a:lnTo>
                  <a:pt x="1164" y="159"/>
                </a:lnTo>
                <a:lnTo>
                  <a:pt x="1168" y="152"/>
                </a:lnTo>
                <a:lnTo>
                  <a:pt x="1170" y="144"/>
                </a:lnTo>
                <a:lnTo>
                  <a:pt x="1172" y="135"/>
                </a:lnTo>
                <a:lnTo>
                  <a:pt x="1173" y="127"/>
                </a:lnTo>
                <a:lnTo>
                  <a:pt x="1174" y="118"/>
                </a:lnTo>
                <a:lnTo>
                  <a:pt x="1173" y="109"/>
                </a:lnTo>
                <a:lnTo>
                  <a:pt x="1172" y="100"/>
                </a:lnTo>
                <a:lnTo>
                  <a:pt x="1169" y="90"/>
                </a:lnTo>
                <a:lnTo>
                  <a:pt x="1165" y="81"/>
                </a:lnTo>
                <a:lnTo>
                  <a:pt x="1161" y="72"/>
                </a:lnTo>
                <a:lnTo>
                  <a:pt x="1157" y="64"/>
                </a:lnTo>
                <a:lnTo>
                  <a:pt x="1151" y="57"/>
                </a:lnTo>
                <a:lnTo>
                  <a:pt x="1144" y="49"/>
                </a:lnTo>
                <a:lnTo>
                  <a:pt x="1138" y="43"/>
                </a:lnTo>
                <a:lnTo>
                  <a:pt x="1130" y="38"/>
                </a:lnTo>
                <a:lnTo>
                  <a:pt x="1122" y="32"/>
                </a:lnTo>
                <a:lnTo>
                  <a:pt x="1114" y="28"/>
                </a:lnTo>
                <a:lnTo>
                  <a:pt x="1104" y="25"/>
                </a:lnTo>
                <a:lnTo>
                  <a:pt x="1095" y="23"/>
                </a:lnTo>
                <a:lnTo>
                  <a:pt x="1085" y="21"/>
                </a:lnTo>
                <a:lnTo>
                  <a:pt x="1076" y="21"/>
                </a:lnTo>
                <a:lnTo>
                  <a:pt x="1065" y="21"/>
                </a:lnTo>
                <a:lnTo>
                  <a:pt x="1056" y="23"/>
                </a:lnTo>
                <a:lnTo>
                  <a:pt x="1046" y="25"/>
                </a:lnTo>
                <a:lnTo>
                  <a:pt x="1037" y="28"/>
                </a:lnTo>
                <a:lnTo>
                  <a:pt x="1028" y="32"/>
                </a:lnTo>
                <a:lnTo>
                  <a:pt x="1021" y="38"/>
                </a:lnTo>
                <a:lnTo>
                  <a:pt x="1014" y="43"/>
                </a:lnTo>
                <a:lnTo>
                  <a:pt x="1006" y="49"/>
                </a:lnTo>
                <a:lnTo>
                  <a:pt x="1000" y="57"/>
                </a:lnTo>
                <a:lnTo>
                  <a:pt x="995" y="64"/>
                </a:lnTo>
                <a:lnTo>
                  <a:pt x="989" y="72"/>
                </a:lnTo>
                <a:lnTo>
                  <a:pt x="985" y="81"/>
                </a:lnTo>
                <a:lnTo>
                  <a:pt x="982" y="90"/>
                </a:lnTo>
                <a:lnTo>
                  <a:pt x="979" y="100"/>
                </a:lnTo>
                <a:lnTo>
                  <a:pt x="978" y="109"/>
                </a:lnTo>
                <a:lnTo>
                  <a:pt x="978" y="118"/>
                </a:lnTo>
                <a:lnTo>
                  <a:pt x="978" y="127"/>
                </a:lnTo>
                <a:lnTo>
                  <a:pt x="979" y="135"/>
                </a:lnTo>
                <a:lnTo>
                  <a:pt x="981" y="144"/>
                </a:lnTo>
                <a:lnTo>
                  <a:pt x="983" y="152"/>
                </a:lnTo>
                <a:lnTo>
                  <a:pt x="986" y="159"/>
                </a:lnTo>
                <a:lnTo>
                  <a:pt x="990" y="167"/>
                </a:lnTo>
                <a:lnTo>
                  <a:pt x="995" y="174"/>
                </a:lnTo>
                <a:lnTo>
                  <a:pt x="1000" y="181"/>
                </a:lnTo>
                <a:lnTo>
                  <a:pt x="984" y="197"/>
                </a:lnTo>
                <a:lnTo>
                  <a:pt x="978" y="189"/>
                </a:lnTo>
                <a:lnTo>
                  <a:pt x="971" y="179"/>
                </a:lnTo>
                <a:lnTo>
                  <a:pt x="967" y="171"/>
                </a:lnTo>
                <a:lnTo>
                  <a:pt x="963" y="160"/>
                </a:lnTo>
                <a:lnTo>
                  <a:pt x="959" y="151"/>
                </a:lnTo>
                <a:lnTo>
                  <a:pt x="957" y="140"/>
                </a:lnTo>
                <a:lnTo>
                  <a:pt x="956" y="130"/>
                </a:lnTo>
                <a:lnTo>
                  <a:pt x="954" y="118"/>
                </a:lnTo>
                <a:close/>
                <a:moveTo>
                  <a:pt x="851" y="156"/>
                </a:moveTo>
                <a:lnTo>
                  <a:pt x="851" y="82"/>
                </a:lnTo>
                <a:lnTo>
                  <a:pt x="871" y="82"/>
                </a:lnTo>
                <a:lnTo>
                  <a:pt x="871" y="139"/>
                </a:lnTo>
                <a:lnTo>
                  <a:pt x="905" y="139"/>
                </a:lnTo>
                <a:lnTo>
                  <a:pt x="905" y="156"/>
                </a:lnTo>
                <a:lnTo>
                  <a:pt x="851" y="156"/>
                </a:lnTo>
                <a:close/>
                <a:moveTo>
                  <a:pt x="782" y="156"/>
                </a:moveTo>
                <a:lnTo>
                  <a:pt x="836" y="156"/>
                </a:lnTo>
                <a:lnTo>
                  <a:pt x="836" y="139"/>
                </a:lnTo>
                <a:lnTo>
                  <a:pt x="800" y="139"/>
                </a:lnTo>
                <a:lnTo>
                  <a:pt x="800" y="127"/>
                </a:lnTo>
                <a:lnTo>
                  <a:pt x="830" y="127"/>
                </a:lnTo>
                <a:lnTo>
                  <a:pt x="830" y="111"/>
                </a:lnTo>
                <a:lnTo>
                  <a:pt x="800" y="111"/>
                </a:lnTo>
                <a:lnTo>
                  <a:pt x="800" y="99"/>
                </a:lnTo>
                <a:lnTo>
                  <a:pt x="835" y="99"/>
                </a:lnTo>
                <a:lnTo>
                  <a:pt x="835" y="82"/>
                </a:lnTo>
                <a:lnTo>
                  <a:pt x="782" y="82"/>
                </a:lnTo>
                <a:lnTo>
                  <a:pt x="782" y="156"/>
                </a:lnTo>
                <a:close/>
                <a:moveTo>
                  <a:pt x="696" y="120"/>
                </a:moveTo>
                <a:lnTo>
                  <a:pt x="696" y="120"/>
                </a:lnTo>
                <a:lnTo>
                  <a:pt x="697" y="111"/>
                </a:lnTo>
                <a:lnTo>
                  <a:pt x="699" y="104"/>
                </a:lnTo>
                <a:lnTo>
                  <a:pt x="702" y="96"/>
                </a:lnTo>
                <a:lnTo>
                  <a:pt x="707" y="91"/>
                </a:lnTo>
                <a:lnTo>
                  <a:pt x="712" y="86"/>
                </a:lnTo>
                <a:lnTo>
                  <a:pt x="718" y="83"/>
                </a:lnTo>
                <a:lnTo>
                  <a:pt x="725" y="81"/>
                </a:lnTo>
                <a:lnTo>
                  <a:pt x="733" y="80"/>
                </a:lnTo>
                <a:lnTo>
                  <a:pt x="739" y="81"/>
                </a:lnTo>
                <a:lnTo>
                  <a:pt x="745" y="82"/>
                </a:lnTo>
                <a:lnTo>
                  <a:pt x="750" y="84"/>
                </a:lnTo>
                <a:lnTo>
                  <a:pt x="754" y="86"/>
                </a:lnTo>
                <a:lnTo>
                  <a:pt x="758" y="90"/>
                </a:lnTo>
                <a:lnTo>
                  <a:pt x="761" y="94"/>
                </a:lnTo>
                <a:lnTo>
                  <a:pt x="765" y="100"/>
                </a:lnTo>
                <a:lnTo>
                  <a:pt x="766" y="106"/>
                </a:lnTo>
                <a:lnTo>
                  <a:pt x="746" y="106"/>
                </a:lnTo>
                <a:lnTo>
                  <a:pt x="744" y="101"/>
                </a:lnTo>
                <a:lnTo>
                  <a:pt x="741" y="99"/>
                </a:lnTo>
                <a:lnTo>
                  <a:pt x="737" y="96"/>
                </a:lnTo>
                <a:lnTo>
                  <a:pt x="733" y="96"/>
                </a:lnTo>
                <a:lnTo>
                  <a:pt x="730" y="96"/>
                </a:lnTo>
                <a:lnTo>
                  <a:pt x="726" y="99"/>
                </a:lnTo>
                <a:lnTo>
                  <a:pt x="724" y="101"/>
                </a:lnTo>
                <a:lnTo>
                  <a:pt x="720" y="103"/>
                </a:lnTo>
                <a:lnTo>
                  <a:pt x="719" y="106"/>
                </a:lnTo>
                <a:lnTo>
                  <a:pt x="717" y="110"/>
                </a:lnTo>
                <a:lnTo>
                  <a:pt x="716" y="120"/>
                </a:lnTo>
                <a:lnTo>
                  <a:pt x="717" y="129"/>
                </a:lnTo>
                <a:lnTo>
                  <a:pt x="719" y="132"/>
                </a:lnTo>
                <a:lnTo>
                  <a:pt x="721" y="136"/>
                </a:lnTo>
                <a:lnTo>
                  <a:pt x="724" y="138"/>
                </a:lnTo>
                <a:lnTo>
                  <a:pt x="727" y="140"/>
                </a:lnTo>
                <a:lnTo>
                  <a:pt x="730" y="143"/>
                </a:lnTo>
                <a:lnTo>
                  <a:pt x="734" y="143"/>
                </a:lnTo>
                <a:lnTo>
                  <a:pt x="741" y="142"/>
                </a:lnTo>
                <a:lnTo>
                  <a:pt x="747" y="139"/>
                </a:lnTo>
                <a:lnTo>
                  <a:pt x="747" y="129"/>
                </a:lnTo>
                <a:lnTo>
                  <a:pt x="734" y="129"/>
                </a:lnTo>
                <a:lnTo>
                  <a:pt x="734" y="115"/>
                </a:lnTo>
                <a:lnTo>
                  <a:pt x="766" y="115"/>
                </a:lnTo>
                <a:lnTo>
                  <a:pt x="766" y="148"/>
                </a:lnTo>
                <a:lnTo>
                  <a:pt x="758" y="153"/>
                </a:lnTo>
                <a:lnTo>
                  <a:pt x="751" y="156"/>
                </a:lnTo>
                <a:lnTo>
                  <a:pt x="742" y="158"/>
                </a:lnTo>
                <a:lnTo>
                  <a:pt x="736" y="159"/>
                </a:lnTo>
                <a:lnTo>
                  <a:pt x="727" y="158"/>
                </a:lnTo>
                <a:lnTo>
                  <a:pt x="719" y="156"/>
                </a:lnTo>
                <a:lnTo>
                  <a:pt x="712" y="153"/>
                </a:lnTo>
                <a:lnTo>
                  <a:pt x="707" y="149"/>
                </a:lnTo>
                <a:lnTo>
                  <a:pt x="702" y="143"/>
                </a:lnTo>
                <a:lnTo>
                  <a:pt x="699" y="136"/>
                </a:lnTo>
                <a:lnTo>
                  <a:pt x="697" y="128"/>
                </a:lnTo>
                <a:lnTo>
                  <a:pt x="696" y="120"/>
                </a:lnTo>
                <a:close/>
                <a:moveTo>
                  <a:pt x="644" y="130"/>
                </a:moveTo>
                <a:lnTo>
                  <a:pt x="654" y="102"/>
                </a:lnTo>
                <a:lnTo>
                  <a:pt x="663" y="130"/>
                </a:lnTo>
                <a:lnTo>
                  <a:pt x="644" y="130"/>
                </a:lnTo>
                <a:close/>
                <a:moveTo>
                  <a:pt x="615" y="156"/>
                </a:moveTo>
                <a:lnTo>
                  <a:pt x="636" y="156"/>
                </a:lnTo>
                <a:lnTo>
                  <a:pt x="639" y="145"/>
                </a:lnTo>
                <a:lnTo>
                  <a:pt x="669" y="145"/>
                </a:lnTo>
                <a:lnTo>
                  <a:pt x="673" y="156"/>
                </a:lnTo>
                <a:lnTo>
                  <a:pt x="693" y="156"/>
                </a:lnTo>
                <a:lnTo>
                  <a:pt x="664" y="82"/>
                </a:lnTo>
                <a:lnTo>
                  <a:pt x="643" y="82"/>
                </a:lnTo>
                <a:lnTo>
                  <a:pt x="615" y="156"/>
                </a:lnTo>
                <a:close/>
                <a:moveTo>
                  <a:pt x="541" y="156"/>
                </a:moveTo>
                <a:lnTo>
                  <a:pt x="559" y="156"/>
                </a:lnTo>
                <a:lnTo>
                  <a:pt x="559" y="112"/>
                </a:lnTo>
                <a:lnTo>
                  <a:pt x="585" y="156"/>
                </a:lnTo>
                <a:lnTo>
                  <a:pt x="606" y="156"/>
                </a:lnTo>
                <a:lnTo>
                  <a:pt x="606" y="82"/>
                </a:lnTo>
                <a:lnTo>
                  <a:pt x="587" y="82"/>
                </a:lnTo>
                <a:lnTo>
                  <a:pt x="587" y="126"/>
                </a:lnTo>
                <a:lnTo>
                  <a:pt x="561" y="82"/>
                </a:lnTo>
                <a:lnTo>
                  <a:pt x="541" y="82"/>
                </a:lnTo>
                <a:lnTo>
                  <a:pt x="541" y="156"/>
                </a:lnTo>
                <a:close/>
                <a:moveTo>
                  <a:pt x="457" y="127"/>
                </a:moveTo>
                <a:lnTo>
                  <a:pt x="457" y="117"/>
                </a:lnTo>
                <a:lnTo>
                  <a:pt x="486" y="117"/>
                </a:lnTo>
                <a:lnTo>
                  <a:pt x="486" y="87"/>
                </a:lnTo>
                <a:lnTo>
                  <a:pt x="498" y="87"/>
                </a:lnTo>
                <a:lnTo>
                  <a:pt x="498" y="117"/>
                </a:lnTo>
                <a:lnTo>
                  <a:pt x="527" y="117"/>
                </a:lnTo>
                <a:lnTo>
                  <a:pt x="527" y="127"/>
                </a:lnTo>
                <a:lnTo>
                  <a:pt x="498" y="127"/>
                </a:lnTo>
                <a:lnTo>
                  <a:pt x="498" y="156"/>
                </a:lnTo>
                <a:lnTo>
                  <a:pt x="486" y="156"/>
                </a:lnTo>
                <a:lnTo>
                  <a:pt x="486" y="127"/>
                </a:lnTo>
                <a:lnTo>
                  <a:pt x="457" y="127"/>
                </a:lnTo>
                <a:close/>
                <a:moveTo>
                  <a:pt x="392" y="156"/>
                </a:moveTo>
                <a:lnTo>
                  <a:pt x="448" y="156"/>
                </a:lnTo>
                <a:lnTo>
                  <a:pt x="448" y="139"/>
                </a:lnTo>
                <a:lnTo>
                  <a:pt x="411" y="139"/>
                </a:lnTo>
                <a:lnTo>
                  <a:pt x="411" y="127"/>
                </a:lnTo>
                <a:lnTo>
                  <a:pt x="442" y="127"/>
                </a:lnTo>
                <a:lnTo>
                  <a:pt x="442" y="111"/>
                </a:lnTo>
                <a:lnTo>
                  <a:pt x="411" y="111"/>
                </a:lnTo>
                <a:lnTo>
                  <a:pt x="411" y="99"/>
                </a:lnTo>
                <a:lnTo>
                  <a:pt x="446" y="99"/>
                </a:lnTo>
                <a:lnTo>
                  <a:pt x="446" y="82"/>
                </a:lnTo>
                <a:lnTo>
                  <a:pt x="392" y="82"/>
                </a:lnTo>
                <a:lnTo>
                  <a:pt x="392" y="156"/>
                </a:lnTo>
                <a:close/>
                <a:moveTo>
                  <a:pt x="309" y="156"/>
                </a:moveTo>
                <a:lnTo>
                  <a:pt x="328" y="156"/>
                </a:lnTo>
                <a:lnTo>
                  <a:pt x="328" y="112"/>
                </a:lnTo>
                <a:lnTo>
                  <a:pt x="354" y="156"/>
                </a:lnTo>
                <a:lnTo>
                  <a:pt x="374" y="156"/>
                </a:lnTo>
                <a:lnTo>
                  <a:pt x="374" y="82"/>
                </a:lnTo>
                <a:lnTo>
                  <a:pt x="356" y="82"/>
                </a:lnTo>
                <a:lnTo>
                  <a:pt x="356" y="126"/>
                </a:lnTo>
                <a:lnTo>
                  <a:pt x="329" y="82"/>
                </a:lnTo>
                <a:lnTo>
                  <a:pt x="309" y="82"/>
                </a:lnTo>
                <a:lnTo>
                  <a:pt x="309" y="156"/>
                </a:lnTo>
                <a:close/>
                <a:moveTo>
                  <a:pt x="226" y="156"/>
                </a:moveTo>
                <a:lnTo>
                  <a:pt x="246" y="156"/>
                </a:lnTo>
                <a:lnTo>
                  <a:pt x="246" y="128"/>
                </a:lnTo>
                <a:lnTo>
                  <a:pt x="272" y="128"/>
                </a:lnTo>
                <a:lnTo>
                  <a:pt x="272" y="156"/>
                </a:lnTo>
                <a:lnTo>
                  <a:pt x="292" y="156"/>
                </a:lnTo>
                <a:lnTo>
                  <a:pt x="292" y="82"/>
                </a:lnTo>
                <a:lnTo>
                  <a:pt x="272" y="82"/>
                </a:lnTo>
                <a:lnTo>
                  <a:pt x="272" y="110"/>
                </a:lnTo>
                <a:lnTo>
                  <a:pt x="246" y="110"/>
                </a:lnTo>
                <a:lnTo>
                  <a:pt x="246" y="82"/>
                </a:lnTo>
                <a:lnTo>
                  <a:pt x="226" y="82"/>
                </a:lnTo>
                <a:lnTo>
                  <a:pt x="226" y="156"/>
                </a:lnTo>
                <a:close/>
                <a:moveTo>
                  <a:pt x="155" y="156"/>
                </a:moveTo>
                <a:lnTo>
                  <a:pt x="211" y="156"/>
                </a:lnTo>
                <a:lnTo>
                  <a:pt x="211" y="139"/>
                </a:lnTo>
                <a:lnTo>
                  <a:pt x="174" y="139"/>
                </a:lnTo>
                <a:lnTo>
                  <a:pt x="174" y="127"/>
                </a:lnTo>
                <a:lnTo>
                  <a:pt x="205" y="127"/>
                </a:lnTo>
                <a:lnTo>
                  <a:pt x="205" y="111"/>
                </a:lnTo>
                <a:lnTo>
                  <a:pt x="174" y="111"/>
                </a:lnTo>
                <a:lnTo>
                  <a:pt x="174" y="99"/>
                </a:lnTo>
                <a:lnTo>
                  <a:pt x="209" y="99"/>
                </a:lnTo>
                <a:lnTo>
                  <a:pt x="209" y="82"/>
                </a:lnTo>
                <a:lnTo>
                  <a:pt x="155" y="82"/>
                </a:lnTo>
                <a:lnTo>
                  <a:pt x="155" y="156"/>
                </a:lnTo>
                <a:close/>
                <a:moveTo>
                  <a:pt x="74" y="126"/>
                </a:moveTo>
                <a:lnTo>
                  <a:pt x="74" y="126"/>
                </a:lnTo>
                <a:lnTo>
                  <a:pt x="74" y="134"/>
                </a:lnTo>
                <a:lnTo>
                  <a:pt x="76" y="142"/>
                </a:lnTo>
                <a:lnTo>
                  <a:pt x="79" y="147"/>
                </a:lnTo>
                <a:lnTo>
                  <a:pt x="83" y="151"/>
                </a:lnTo>
                <a:lnTo>
                  <a:pt x="89" y="155"/>
                </a:lnTo>
                <a:lnTo>
                  <a:pt x="94" y="157"/>
                </a:lnTo>
                <a:lnTo>
                  <a:pt x="99" y="158"/>
                </a:lnTo>
                <a:lnTo>
                  <a:pt x="107" y="159"/>
                </a:lnTo>
                <a:lnTo>
                  <a:pt x="113" y="158"/>
                </a:lnTo>
                <a:lnTo>
                  <a:pt x="118" y="157"/>
                </a:lnTo>
                <a:lnTo>
                  <a:pt x="124" y="155"/>
                </a:lnTo>
                <a:lnTo>
                  <a:pt x="129" y="151"/>
                </a:lnTo>
                <a:lnTo>
                  <a:pt x="133" y="147"/>
                </a:lnTo>
                <a:lnTo>
                  <a:pt x="136" y="142"/>
                </a:lnTo>
                <a:lnTo>
                  <a:pt x="138" y="134"/>
                </a:lnTo>
                <a:lnTo>
                  <a:pt x="138" y="126"/>
                </a:lnTo>
                <a:lnTo>
                  <a:pt x="138" y="82"/>
                </a:lnTo>
                <a:lnTo>
                  <a:pt x="118" y="82"/>
                </a:lnTo>
                <a:lnTo>
                  <a:pt x="118" y="129"/>
                </a:lnTo>
                <a:lnTo>
                  <a:pt x="117" y="134"/>
                </a:lnTo>
                <a:lnTo>
                  <a:pt x="115" y="138"/>
                </a:lnTo>
                <a:lnTo>
                  <a:pt x="112" y="142"/>
                </a:lnTo>
                <a:lnTo>
                  <a:pt x="107" y="142"/>
                </a:lnTo>
                <a:lnTo>
                  <a:pt x="100" y="142"/>
                </a:lnTo>
                <a:lnTo>
                  <a:pt x="97" y="138"/>
                </a:lnTo>
                <a:lnTo>
                  <a:pt x="94" y="134"/>
                </a:lnTo>
                <a:lnTo>
                  <a:pt x="94" y="129"/>
                </a:lnTo>
                <a:lnTo>
                  <a:pt x="94" y="82"/>
                </a:lnTo>
                <a:lnTo>
                  <a:pt x="74" y="82"/>
                </a:lnTo>
                <a:lnTo>
                  <a:pt x="74" y="126"/>
                </a:lnTo>
                <a:close/>
                <a:moveTo>
                  <a:pt x="0" y="156"/>
                </a:moveTo>
                <a:lnTo>
                  <a:pt x="20" y="156"/>
                </a:lnTo>
                <a:lnTo>
                  <a:pt x="20" y="135"/>
                </a:lnTo>
                <a:lnTo>
                  <a:pt x="26" y="127"/>
                </a:lnTo>
                <a:lnTo>
                  <a:pt x="43" y="156"/>
                </a:lnTo>
                <a:lnTo>
                  <a:pt x="66" y="156"/>
                </a:lnTo>
                <a:lnTo>
                  <a:pt x="40" y="112"/>
                </a:lnTo>
                <a:lnTo>
                  <a:pt x="63" y="82"/>
                </a:lnTo>
                <a:lnTo>
                  <a:pt x="40" y="82"/>
                </a:lnTo>
                <a:lnTo>
                  <a:pt x="20" y="109"/>
                </a:lnTo>
                <a:lnTo>
                  <a:pt x="20" y="82"/>
                </a:lnTo>
                <a:lnTo>
                  <a:pt x="0" y="82"/>
                </a:lnTo>
                <a:lnTo>
                  <a:pt x="0" y="1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 name="Text Placeholder 5"/>
          <p:cNvSpPr>
            <a:spLocks noGrp="1"/>
          </p:cNvSpPr>
          <p:nvPr>
            <p:ph type="body" sz="quarter" idx="12"/>
          </p:nvPr>
        </p:nvSpPr>
        <p:spPr>
          <a:xfrm>
            <a:off x="551656" y="1989139"/>
            <a:ext cx="6931137" cy="390078"/>
          </a:xfrm>
          <a:prstGeom prst="rect">
            <a:avLst/>
          </a:prstGeom>
        </p:spPr>
        <p:txBody>
          <a:bodyPr>
            <a:noAutofit/>
          </a:bodyPr>
          <a:lstStyle>
            <a:lvl1pPr marL="0" indent="0">
              <a:lnSpc>
                <a:spcPct val="100000"/>
              </a:lnSpc>
              <a:spcBef>
                <a:spcPts val="0"/>
              </a:spcBef>
              <a:buNone/>
              <a:defRPr sz="2400" b="1" baseline="0">
                <a:solidFill>
                  <a:schemeClr val="bg1"/>
                </a:solidFill>
              </a:defRPr>
            </a:lvl1pPr>
          </a:lstStyle>
          <a:p>
            <a:pPr lvl="0"/>
            <a:r>
              <a:rPr lang="en-US" noProof="0"/>
              <a:t>Click to edit Master text styles</a:t>
            </a:r>
          </a:p>
        </p:txBody>
      </p:sp>
      <p:sp>
        <p:nvSpPr>
          <p:cNvPr id="6" name="Titel 1"/>
          <p:cNvSpPr>
            <a:spLocks noGrp="1"/>
          </p:cNvSpPr>
          <p:nvPr>
            <p:ph type="title"/>
          </p:nvPr>
        </p:nvSpPr>
        <p:spPr>
          <a:xfrm>
            <a:off x="550863" y="2379215"/>
            <a:ext cx="6931137" cy="2489647"/>
          </a:xfrm>
        </p:spPr>
        <p:txBody>
          <a:bodyPr>
            <a:noAutofit/>
          </a:bodyPr>
          <a:lstStyle>
            <a:lvl1pPr>
              <a:lnSpc>
                <a:spcPct val="100000"/>
              </a:lnSpc>
              <a:spcAft>
                <a:spcPts val="0"/>
              </a:spcAft>
              <a:defRPr lang="en-GB" sz="6000" b="1" kern="1200" baseline="0" noProof="0" dirty="0">
                <a:solidFill>
                  <a:schemeClr val="bg1"/>
                </a:solidFill>
                <a:latin typeface="+mn-lt"/>
                <a:ea typeface="+mn-ea"/>
                <a:cs typeface="+mn-cs"/>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235024890"/>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_message_white_36pt">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50865" y="2348726"/>
            <a:ext cx="8316910" cy="3960000"/>
          </a:xfrm>
        </p:spPr>
        <p:txBody>
          <a:bodyPr>
            <a:noAutofit/>
          </a:bodyPr>
          <a:lstStyle>
            <a:lvl1pPr>
              <a:spcAft>
                <a:spcPts val="1200"/>
              </a:spcAft>
              <a:defRPr sz="3600" b="1"/>
            </a:lvl1pPr>
          </a:lstStyle>
          <a:p>
            <a:pPr lvl="0"/>
            <a:r>
              <a:rPr lang="en-US"/>
              <a:t>Click to edit Master text styles</a:t>
            </a:r>
          </a:p>
        </p:txBody>
      </p:sp>
      <p:sp>
        <p:nvSpPr>
          <p:cNvPr id="2" name="Slide Number Placeholder 3">
            <a:extLst>
              <a:ext uri="{FF2B5EF4-FFF2-40B4-BE49-F238E27FC236}">
                <a16:creationId xmlns:a16="http://schemas.microsoft.com/office/drawing/2014/main" id="{D6A56460-797F-EF69-A941-7E331B1D433C}"/>
              </a:ext>
            </a:extLst>
          </p:cNvPr>
          <p:cNvSpPr>
            <a:spLocks noGrp="1"/>
          </p:cNvSpPr>
          <p:nvPr>
            <p:ph type="sldNum" sz="quarter" idx="14"/>
          </p:nvPr>
        </p:nvSpPr>
        <p:spPr/>
        <p:txBody>
          <a:bodyPr/>
          <a:lstStyle>
            <a:lvl1pPr algn="r">
              <a:defRPr sz="1000">
                <a:solidFill>
                  <a:srgbClr val="000000"/>
                </a:solidFill>
              </a:defRPr>
            </a:lvl1pPr>
          </a:lstStyle>
          <a:p>
            <a:pPr>
              <a:defRPr/>
            </a:pPr>
            <a:fld id="{AE0B22B4-1DDF-43FE-B848-AC40115324DF}" type="slidenum">
              <a:rPr lang="en-GB"/>
              <a:pPr>
                <a:defRPr/>
              </a:pPr>
              <a:t>‹#›</a:t>
            </a:fld>
            <a:endParaRPr lang="en-GB" dirty="0"/>
          </a:p>
        </p:txBody>
      </p:sp>
    </p:spTree>
    <p:extLst>
      <p:ext uri="{BB962C8B-B14F-4D97-AF65-F5344CB8AC3E}">
        <p14:creationId xmlns:p14="http://schemas.microsoft.com/office/powerpoint/2010/main" val="1348046323"/>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Key_message_BlueBG_36p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4F68F9F-3163-F63E-5C8C-80D62D75B048}"/>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5">
            <a:extLst>
              <a:ext uri="{FF2B5EF4-FFF2-40B4-BE49-F238E27FC236}">
                <a16:creationId xmlns:a16="http://schemas.microsoft.com/office/drawing/2014/main" id="{CF7793B7-D78A-DD86-4E05-D5800E5788EF}"/>
              </a:ext>
            </a:extLst>
          </p:cNvPr>
          <p:cNvSpPr>
            <a:spLocks noEditPoints="1"/>
          </p:cNvSpPr>
          <p:nvPr/>
        </p:nvSpPr>
        <p:spPr bwMode="auto">
          <a:xfrm>
            <a:off x="9721850" y="558800"/>
            <a:ext cx="1908175" cy="379413"/>
          </a:xfrm>
          <a:custGeom>
            <a:avLst/>
            <a:gdLst>
              <a:gd name="T0" fmla="*/ 1714967 w 1196"/>
              <a:gd name="T1" fmla="*/ 111125 h 239"/>
              <a:gd name="T2" fmla="*/ 1729324 w 1196"/>
              <a:gd name="T3" fmla="*/ 142875 h 239"/>
              <a:gd name="T4" fmla="*/ 1695823 w 1196"/>
              <a:gd name="T5" fmla="*/ 130175 h 239"/>
              <a:gd name="T6" fmla="*/ 1649559 w 1196"/>
              <a:gd name="T7" fmla="*/ 368300 h 239"/>
              <a:gd name="T8" fmla="*/ 1750064 w 1196"/>
              <a:gd name="T9" fmla="*/ 376238 h 239"/>
              <a:gd name="T10" fmla="*/ 1813876 w 1196"/>
              <a:gd name="T11" fmla="*/ 309563 h 239"/>
              <a:gd name="T12" fmla="*/ 1764421 w 1196"/>
              <a:gd name="T13" fmla="*/ 212725 h 239"/>
              <a:gd name="T14" fmla="*/ 1756445 w 1196"/>
              <a:gd name="T15" fmla="*/ 142875 h 239"/>
              <a:gd name="T16" fmla="*/ 1746873 w 1196"/>
              <a:gd name="T17" fmla="*/ 100013 h 239"/>
              <a:gd name="T18" fmla="*/ 1697418 w 1196"/>
              <a:gd name="T19" fmla="*/ 92075 h 239"/>
              <a:gd name="T20" fmla="*/ 1670298 w 1196"/>
              <a:gd name="T21" fmla="*/ 130175 h 239"/>
              <a:gd name="T22" fmla="*/ 1665512 w 1196"/>
              <a:gd name="T23" fmla="*/ 187325 h 239"/>
              <a:gd name="T24" fmla="*/ 1633605 w 1196"/>
              <a:gd name="T25" fmla="*/ 322263 h 239"/>
              <a:gd name="T26" fmla="*/ 1531505 w 1196"/>
              <a:gd name="T27" fmla="*/ 133350 h 239"/>
              <a:gd name="T28" fmla="*/ 1608080 w 1196"/>
              <a:gd name="T29" fmla="*/ 33338 h 239"/>
              <a:gd name="T30" fmla="*/ 1716562 w 1196"/>
              <a:gd name="T31" fmla="*/ 0 h 239"/>
              <a:gd name="T32" fmla="*/ 1837806 w 1196"/>
              <a:gd name="T33" fmla="*/ 42863 h 239"/>
              <a:gd name="T34" fmla="*/ 1904809 w 1196"/>
              <a:gd name="T35" fmla="*/ 149225 h 239"/>
              <a:gd name="T36" fmla="*/ 1895237 w 1196"/>
              <a:gd name="T37" fmla="*/ 254000 h 239"/>
              <a:gd name="T38" fmla="*/ 1844187 w 1196"/>
              <a:gd name="T39" fmla="*/ 276225 h 239"/>
              <a:gd name="T40" fmla="*/ 1872903 w 1196"/>
              <a:gd name="T41" fmla="*/ 187325 h 239"/>
              <a:gd name="T42" fmla="*/ 1845783 w 1196"/>
              <a:gd name="T43" fmla="*/ 101600 h 239"/>
              <a:gd name="T44" fmla="*/ 1761231 w 1196"/>
              <a:gd name="T45" fmla="*/ 39688 h 239"/>
              <a:gd name="T46" fmla="*/ 1668702 w 1196"/>
              <a:gd name="T47" fmla="*/ 39688 h 239"/>
              <a:gd name="T48" fmla="*/ 1587341 w 1196"/>
              <a:gd name="T49" fmla="*/ 101600 h 239"/>
              <a:gd name="T50" fmla="*/ 1560221 w 1196"/>
              <a:gd name="T51" fmla="*/ 187325 h 239"/>
              <a:gd name="T52" fmla="*/ 1587341 w 1196"/>
              <a:gd name="T53" fmla="*/ 276225 h 239"/>
              <a:gd name="T54" fmla="*/ 1536291 w 1196"/>
              <a:gd name="T55" fmla="*/ 254000 h 239"/>
              <a:gd name="T56" fmla="*/ 1357615 w 1196"/>
              <a:gd name="T57" fmla="*/ 130175 h 239"/>
              <a:gd name="T58" fmla="*/ 1333686 w 1196"/>
              <a:gd name="T59" fmla="*/ 247650 h 239"/>
              <a:gd name="T60" fmla="*/ 1276254 w 1196"/>
              <a:gd name="T61" fmla="*/ 157163 h 239"/>
              <a:gd name="T62" fmla="*/ 1111936 w 1196"/>
              <a:gd name="T63" fmla="*/ 176213 h 239"/>
              <a:gd name="T64" fmla="*/ 1169368 w 1196"/>
              <a:gd name="T65" fmla="*/ 127000 h 239"/>
              <a:gd name="T66" fmla="*/ 1214037 w 1196"/>
              <a:gd name="T67" fmla="*/ 149225 h 239"/>
              <a:gd name="T68" fmla="*/ 1175749 w 1196"/>
              <a:gd name="T69" fmla="*/ 152400 h 239"/>
              <a:gd name="T70" fmla="*/ 1147033 w 1196"/>
              <a:gd name="T71" fmla="*/ 168275 h 239"/>
              <a:gd name="T72" fmla="*/ 1155010 w 1196"/>
              <a:gd name="T73" fmla="*/ 219075 h 239"/>
              <a:gd name="T74" fmla="*/ 1191702 w 1196"/>
              <a:gd name="T75" fmla="*/ 204788 h 239"/>
              <a:gd name="T76" fmla="*/ 1198084 w 1196"/>
              <a:gd name="T77" fmla="*/ 247650 h 239"/>
              <a:gd name="T78" fmla="*/ 1127890 w 1196"/>
              <a:gd name="T79" fmla="*/ 236538 h 239"/>
              <a:gd name="T80" fmla="*/ 1043338 w 1196"/>
              <a:gd name="T81" fmla="*/ 161925 h 239"/>
              <a:gd name="T82" fmla="*/ 1073649 w 1196"/>
              <a:gd name="T83" fmla="*/ 247650 h 239"/>
              <a:gd name="T84" fmla="*/ 891783 w 1196"/>
              <a:gd name="T85" fmla="*/ 177800 h 239"/>
              <a:gd name="T86" fmla="*/ 863067 w 1196"/>
              <a:gd name="T87" fmla="*/ 130175 h 239"/>
              <a:gd name="T88" fmla="*/ 794468 w 1196"/>
              <a:gd name="T89" fmla="*/ 185738 h 239"/>
              <a:gd name="T90" fmla="*/ 729060 w 1196"/>
              <a:gd name="T91" fmla="*/ 201613 h 239"/>
              <a:gd name="T92" fmla="*/ 705130 w 1196"/>
              <a:gd name="T93" fmla="*/ 176213 h 239"/>
              <a:gd name="T94" fmla="*/ 492953 w 1196"/>
              <a:gd name="T95" fmla="*/ 247650 h 239"/>
              <a:gd name="T96" fmla="*/ 567933 w 1196"/>
              <a:gd name="T97" fmla="*/ 200025 h 239"/>
              <a:gd name="T98" fmla="*/ 433926 w 1196"/>
              <a:gd name="T99" fmla="*/ 203200 h 239"/>
              <a:gd name="T100" fmla="*/ 392448 w 1196"/>
              <a:gd name="T101" fmla="*/ 130175 h 239"/>
              <a:gd name="T102" fmla="*/ 277585 w 1196"/>
              <a:gd name="T103" fmla="*/ 201613 h 239"/>
              <a:gd name="T104" fmla="*/ 247274 w 1196"/>
              <a:gd name="T105" fmla="*/ 130175 h 239"/>
              <a:gd name="T106" fmla="*/ 132411 w 1196"/>
              <a:gd name="T107" fmla="*/ 239713 h 239"/>
              <a:gd name="T108" fmla="*/ 188247 w 1196"/>
              <a:gd name="T109" fmla="*/ 249238 h 239"/>
              <a:gd name="T110" fmla="*/ 220154 w 1196"/>
              <a:gd name="T111" fmla="*/ 130175 h 239"/>
              <a:gd name="T112" fmla="*/ 170699 w 1196"/>
              <a:gd name="T113" fmla="*/ 225425 h 239"/>
              <a:gd name="T114" fmla="*/ 118054 w 1196"/>
              <a:gd name="T115" fmla="*/ 130175 h 239"/>
              <a:gd name="T116" fmla="*/ 105291 w 1196"/>
              <a:gd name="T117" fmla="*/ 247650 h 239"/>
              <a:gd name="T118" fmla="*/ 0 w 1196"/>
              <a:gd name="T119" fmla="*/ 247650 h 2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96" h="239">
                <a:moveTo>
                  <a:pt x="1063" y="82"/>
                </a:moveTo>
                <a:lnTo>
                  <a:pt x="1063" y="82"/>
                </a:lnTo>
                <a:lnTo>
                  <a:pt x="1064" y="78"/>
                </a:lnTo>
                <a:lnTo>
                  <a:pt x="1066" y="73"/>
                </a:lnTo>
                <a:lnTo>
                  <a:pt x="1070" y="71"/>
                </a:lnTo>
                <a:lnTo>
                  <a:pt x="1075" y="70"/>
                </a:lnTo>
                <a:lnTo>
                  <a:pt x="1080" y="71"/>
                </a:lnTo>
                <a:lnTo>
                  <a:pt x="1084" y="73"/>
                </a:lnTo>
                <a:lnTo>
                  <a:pt x="1086" y="78"/>
                </a:lnTo>
                <a:lnTo>
                  <a:pt x="1087" y="82"/>
                </a:lnTo>
                <a:lnTo>
                  <a:pt x="1086" y="87"/>
                </a:lnTo>
                <a:lnTo>
                  <a:pt x="1084" y="90"/>
                </a:lnTo>
                <a:lnTo>
                  <a:pt x="1080" y="93"/>
                </a:lnTo>
                <a:lnTo>
                  <a:pt x="1075" y="94"/>
                </a:lnTo>
                <a:lnTo>
                  <a:pt x="1070" y="93"/>
                </a:lnTo>
                <a:lnTo>
                  <a:pt x="1066" y="90"/>
                </a:lnTo>
                <a:lnTo>
                  <a:pt x="1064" y="87"/>
                </a:lnTo>
                <a:lnTo>
                  <a:pt x="1063" y="82"/>
                </a:lnTo>
                <a:close/>
                <a:moveTo>
                  <a:pt x="998" y="211"/>
                </a:moveTo>
                <a:lnTo>
                  <a:pt x="998" y="211"/>
                </a:lnTo>
                <a:lnTo>
                  <a:pt x="1006" y="217"/>
                </a:lnTo>
                <a:lnTo>
                  <a:pt x="1015" y="222"/>
                </a:lnTo>
                <a:lnTo>
                  <a:pt x="1024" y="227"/>
                </a:lnTo>
                <a:lnTo>
                  <a:pt x="1034" y="232"/>
                </a:lnTo>
                <a:lnTo>
                  <a:pt x="1044" y="235"/>
                </a:lnTo>
                <a:lnTo>
                  <a:pt x="1054" y="237"/>
                </a:lnTo>
                <a:lnTo>
                  <a:pt x="1064" y="238"/>
                </a:lnTo>
                <a:lnTo>
                  <a:pt x="1076" y="239"/>
                </a:lnTo>
                <a:lnTo>
                  <a:pt x="1086" y="238"/>
                </a:lnTo>
                <a:lnTo>
                  <a:pt x="1097" y="237"/>
                </a:lnTo>
                <a:lnTo>
                  <a:pt x="1106" y="235"/>
                </a:lnTo>
                <a:lnTo>
                  <a:pt x="1117" y="232"/>
                </a:lnTo>
                <a:lnTo>
                  <a:pt x="1126" y="227"/>
                </a:lnTo>
                <a:lnTo>
                  <a:pt x="1136" y="222"/>
                </a:lnTo>
                <a:lnTo>
                  <a:pt x="1144" y="217"/>
                </a:lnTo>
                <a:lnTo>
                  <a:pt x="1153" y="211"/>
                </a:lnTo>
                <a:lnTo>
                  <a:pt x="1137" y="195"/>
                </a:lnTo>
                <a:lnTo>
                  <a:pt x="1126" y="203"/>
                </a:lnTo>
                <a:lnTo>
                  <a:pt x="1114" y="211"/>
                </a:lnTo>
                <a:lnTo>
                  <a:pt x="1100" y="216"/>
                </a:lnTo>
                <a:lnTo>
                  <a:pt x="1086" y="218"/>
                </a:lnTo>
                <a:lnTo>
                  <a:pt x="1086" y="134"/>
                </a:lnTo>
                <a:lnTo>
                  <a:pt x="1106" y="134"/>
                </a:lnTo>
                <a:lnTo>
                  <a:pt x="1106" y="118"/>
                </a:lnTo>
                <a:lnTo>
                  <a:pt x="1086" y="118"/>
                </a:lnTo>
                <a:lnTo>
                  <a:pt x="1086" y="106"/>
                </a:lnTo>
                <a:lnTo>
                  <a:pt x="1093" y="103"/>
                </a:lnTo>
                <a:lnTo>
                  <a:pt x="1098" y="97"/>
                </a:lnTo>
                <a:lnTo>
                  <a:pt x="1101" y="90"/>
                </a:lnTo>
                <a:lnTo>
                  <a:pt x="1102" y="86"/>
                </a:lnTo>
                <a:lnTo>
                  <a:pt x="1103" y="82"/>
                </a:lnTo>
                <a:lnTo>
                  <a:pt x="1102" y="77"/>
                </a:lnTo>
                <a:lnTo>
                  <a:pt x="1101" y="71"/>
                </a:lnTo>
                <a:lnTo>
                  <a:pt x="1098" y="67"/>
                </a:lnTo>
                <a:lnTo>
                  <a:pt x="1095" y="63"/>
                </a:lnTo>
                <a:lnTo>
                  <a:pt x="1091" y="60"/>
                </a:lnTo>
                <a:lnTo>
                  <a:pt x="1086" y="58"/>
                </a:lnTo>
                <a:lnTo>
                  <a:pt x="1081" y="56"/>
                </a:lnTo>
                <a:lnTo>
                  <a:pt x="1076" y="56"/>
                </a:lnTo>
                <a:lnTo>
                  <a:pt x="1069" y="56"/>
                </a:lnTo>
                <a:lnTo>
                  <a:pt x="1064" y="58"/>
                </a:lnTo>
                <a:lnTo>
                  <a:pt x="1060" y="60"/>
                </a:lnTo>
                <a:lnTo>
                  <a:pt x="1056" y="63"/>
                </a:lnTo>
                <a:lnTo>
                  <a:pt x="1053" y="67"/>
                </a:lnTo>
                <a:lnTo>
                  <a:pt x="1049" y="71"/>
                </a:lnTo>
                <a:lnTo>
                  <a:pt x="1048" y="77"/>
                </a:lnTo>
                <a:lnTo>
                  <a:pt x="1047" y="82"/>
                </a:lnTo>
                <a:lnTo>
                  <a:pt x="1048" y="86"/>
                </a:lnTo>
                <a:lnTo>
                  <a:pt x="1049" y="90"/>
                </a:lnTo>
                <a:lnTo>
                  <a:pt x="1053" y="97"/>
                </a:lnTo>
                <a:lnTo>
                  <a:pt x="1058" y="103"/>
                </a:lnTo>
                <a:lnTo>
                  <a:pt x="1064" y="106"/>
                </a:lnTo>
                <a:lnTo>
                  <a:pt x="1064" y="118"/>
                </a:lnTo>
                <a:lnTo>
                  <a:pt x="1044" y="118"/>
                </a:lnTo>
                <a:lnTo>
                  <a:pt x="1044" y="134"/>
                </a:lnTo>
                <a:lnTo>
                  <a:pt x="1064" y="134"/>
                </a:lnTo>
                <a:lnTo>
                  <a:pt x="1064" y="218"/>
                </a:lnTo>
                <a:lnTo>
                  <a:pt x="1050" y="216"/>
                </a:lnTo>
                <a:lnTo>
                  <a:pt x="1037" y="211"/>
                </a:lnTo>
                <a:lnTo>
                  <a:pt x="1024" y="203"/>
                </a:lnTo>
                <a:lnTo>
                  <a:pt x="1014" y="195"/>
                </a:lnTo>
                <a:lnTo>
                  <a:pt x="998" y="211"/>
                </a:lnTo>
                <a:close/>
                <a:moveTo>
                  <a:pt x="954" y="118"/>
                </a:moveTo>
                <a:lnTo>
                  <a:pt x="954" y="118"/>
                </a:lnTo>
                <a:lnTo>
                  <a:pt x="956" y="107"/>
                </a:lnTo>
                <a:lnTo>
                  <a:pt x="958" y="94"/>
                </a:lnTo>
                <a:lnTo>
                  <a:pt x="960" y="84"/>
                </a:lnTo>
                <a:lnTo>
                  <a:pt x="964" y="72"/>
                </a:lnTo>
                <a:lnTo>
                  <a:pt x="969" y="62"/>
                </a:lnTo>
                <a:lnTo>
                  <a:pt x="976" y="52"/>
                </a:lnTo>
                <a:lnTo>
                  <a:pt x="982" y="43"/>
                </a:lnTo>
                <a:lnTo>
                  <a:pt x="990" y="35"/>
                </a:lnTo>
                <a:lnTo>
                  <a:pt x="999" y="27"/>
                </a:lnTo>
                <a:lnTo>
                  <a:pt x="1008" y="21"/>
                </a:lnTo>
                <a:lnTo>
                  <a:pt x="1018" y="15"/>
                </a:lnTo>
                <a:lnTo>
                  <a:pt x="1028" y="9"/>
                </a:lnTo>
                <a:lnTo>
                  <a:pt x="1040" y="5"/>
                </a:lnTo>
                <a:lnTo>
                  <a:pt x="1052" y="3"/>
                </a:lnTo>
                <a:lnTo>
                  <a:pt x="1063" y="1"/>
                </a:lnTo>
                <a:lnTo>
                  <a:pt x="1076" y="0"/>
                </a:lnTo>
                <a:lnTo>
                  <a:pt x="1087" y="1"/>
                </a:lnTo>
                <a:lnTo>
                  <a:pt x="1100" y="3"/>
                </a:lnTo>
                <a:lnTo>
                  <a:pt x="1111" y="5"/>
                </a:lnTo>
                <a:lnTo>
                  <a:pt x="1122" y="9"/>
                </a:lnTo>
                <a:lnTo>
                  <a:pt x="1133" y="15"/>
                </a:lnTo>
                <a:lnTo>
                  <a:pt x="1142" y="21"/>
                </a:lnTo>
                <a:lnTo>
                  <a:pt x="1152" y="27"/>
                </a:lnTo>
                <a:lnTo>
                  <a:pt x="1160" y="35"/>
                </a:lnTo>
                <a:lnTo>
                  <a:pt x="1169" y="43"/>
                </a:lnTo>
                <a:lnTo>
                  <a:pt x="1175" y="52"/>
                </a:lnTo>
                <a:lnTo>
                  <a:pt x="1181" y="62"/>
                </a:lnTo>
                <a:lnTo>
                  <a:pt x="1187" y="72"/>
                </a:lnTo>
                <a:lnTo>
                  <a:pt x="1191" y="84"/>
                </a:lnTo>
                <a:lnTo>
                  <a:pt x="1194" y="94"/>
                </a:lnTo>
                <a:lnTo>
                  <a:pt x="1195" y="107"/>
                </a:lnTo>
                <a:lnTo>
                  <a:pt x="1196" y="118"/>
                </a:lnTo>
                <a:lnTo>
                  <a:pt x="1195" y="130"/>
                </a:lnTo>
                <a:lnTo>
                  <a:pt x="1194" y="140"/>
                </a:lnTo>
                <a:lnTo>
                  <a:pt x="1192" y="151"/>
                </a:lnTo>
                <a:lnTo>
                  <a:pt x="1188" y="160"/>
                </a:lnTo>
                <a:lnTo>
                  <a:pt x="1184" y="171"/>
                </a:lnTo>
                <a:lnTo>
                  <a:pt x="1179" y="179"/>
                </a:lnTo>
                <a:lnTo>
                  <a:pt x="1173" y="189"/>
                </a:lnTo>
                <a:lnTo>
                  <a:pt x="1166" y="197"/>
                </a:lnTo>
                <a:lnTo>
                  <a:pt x="1151" y="181"/>
                </a:lnTo>
                <a:lnTo>
                  <a:pt x="1156" y="174"/>
                </a:lnTo>
                <a:lnTo>
                  <a:pt x="1160" y="167"/>
                </a:lnTo>
                <a:lnTo>
                  <a:pt x="1164" y="159"/>
                </a:lnTo>
                <a:lnTo>
                  <a:pt x="1168" y="152"/>
                </a:lnTo>
                <a:lnTo>
                  <a:pt x="1170" y="144"/>
                </a:lnTo>
                <a:lnTo>
                  <a:pt x="1172" y="135"/>
                </a:lnTo>
                <a:lnTo>
                  <a:pt x="1173" y="127"/>
                </a:lnTo>
                <a:lnTo>
                  <a:pt x="1174" y="118"/>
                </a:lnTo>
                <a:lnTo>
                  <a:pt x="1173" y="109"/>
                </a:lnTo>
                <a:lnTo>
                  <a:pt x="1172" y="100"/>
                </a:lnTo>
                <a:lnTo>
                  <a:pt x="1169" y="90"/>
                </a:lnTo>
                <a:lnTo>
                  <a:pt x="1165" y="81"/>
                </a:lnTo>
                <a:lnTo>
                  <a:pt x="1161" y="72"/>
                </a:lnTo>
                <a:lnTo>
                  <a:pt x="1157" y="64"/>
                </a:lnTo>
                <a:lnTo>
                  <a:pt x="1151" y="57"/>
                </a:lnTo>
                <a:lnTo>
                  <a:pt x="1144" y="49"/>
                </a:lnTo>
                <a:lnTo>
                  <a:pt x="1138" y="43"/>
                </a:lnTo>
                <a:lnTo>
                  <a:pt x="1130" y="38"/>
                </a:lnTo>
                <a:lnTo>
                  <a:pt x="1122" y="32"/>
                </a:lnTo>
                <a:lnTo>
                  <a:pt x="1114" y="28"/>
                </a:lnTo>
                <a:lnTo>
                  <a:pt x="1104" y="25"/>
                </a:lnTo>
                <a:lnTo>
                  <a:pt x="1095" y="23"/>
                </a:lnTo>
                <a:lnTo>
                  <a:pt x="1085" y="21"/>
                </a:lnTo>
                <a:lnTo>
                  <a:pt x="1076" y="21"/>
                </a:lnTo>
                <a:lnTo>
                  <a:pt x="1065" y="21"/>
                </a:lnTo>
                <a:lnTo>
                  <a:pt x="1056" y="23"/>
                </a:lnTo>
                <a:lnTo>
                  <a:pt x="1046" y="25"/>
                </a:lnTo>
                <a:lnTo>
                  <a:pt x="1037" y="28"/>
                </a:lnTo>
                <a:lnTo>
                  <a:pt x="1028" y="32"/>
                </a:lnTo>
                <a:lnTo>
                  <a:pt x="1021" y="38"/>
                </a:lnTo>
                <a:lnTo>
                  <a:pt x="1014" y="43"/>
                </a:lnTo>
                <a:lnTo>
                  <a:pt x="1006" y="49"/>
                </a:lnTo>
                <a:lnTo>
                  <a:pt x="1000" y="57"/>
                </a:lnTo>
                <a:lnTo>
                  <a:pt x="995" y="64"/>
                </a:lnTo>
                <a:lnTo>
                  <a:pt x="989" y="72"/>
                </a:lnTo>
                <a:lnTo>
                  <a:pt x="985" y="81"/>
                </a:lnTo>
                <a:lnTo>
                  <a:pt x="982" y="90"/>
                </a:lnTo>
                <a:lnTo>
                  <a:pt x="979" y="100"/>
                </a:lnTo>
                <a:lnTo>
                  <a:pt x="978" y="109"/>
                </a:lnTo>
                <a:lnTo>
                  <a:pt x="978" y="118"/>
                </a:lnTo>
                <a:lnTo>
                  <a:pt x="978" y="127"/>
                </a:lnTo>
                <a:lnTo>
                  <a:pt x="979" y="135"/>
                </a:lnTo>
                <a:lnTo>
                  <a:pt x="981" y="144"/>
                </a:lnTo>
                <a:lnTo>
                  <a:pt x="983" y="152"/>
                </a:lnTo>
                <a:lnTo>
                  <a:pt x="986" y="159"/>
                </a:lnTo>
                <a:lnTo>
                  <a:pt x="990" y="167"/>
                </a:lnTo>
                <a:lnTo>
                  <a:pt x="995" y="174"/>
                </a:lnTo>
                <a:lnTo>
                  <a:pt x="1000" y="181"/>
                </a:lnTo>
                <a:lnTo>
                  <a:pt x="984" y="197"/>
                </a:lnTo>
                <a:lnTo>
                  <a:pt x="978" y="189"/>
                </a:lnTo>
                <a:lnTo>
                  <a:pt x="971" y="179"/>
                </a:lnTo>
                <a:lnTo>
                  <a:pt x="967" y="171"/>
                </a:lnTo>
                <a:lnTo>
                  <a:pt x="963" y="160"/>
                </a:lnTo>
                <a:lnTo>
                  <a:pt x="959" y="151"/>
                </a:lnTo>
                <a:lnTo>
                  <a:pt x="957" y="140"/>
                </a:lnTo>
                <a:lnTo>
                  <a:pt x="956" y="130"/>
                </a:lnTo>
                <a:lnTo>
                  <a:pt x="954" y="118"/>
                </a:lnTo>
                <a:close/>
                <a:moveTo>
                  <a:pt x="851" y="156"/>
                </a:moveTo>
                <a:lnTo>
                  <a:pt x="851" y="82"/>
                </a:lnTo>
                <a:lnTo>
                  <a:pt x="871" y="82"/>
                </a:lnTo>
                <a:lnTo>
                  <a:pt x="871" y="139"/>
                </a:lnTo>
                <a:lnTo>
                  <a:pt x="905" y="139"/>
                </a:lnTo>
                <a:lnTo>
                  <a:pt x="905" y="156"/>
                </a:lnTo>
                <a:lnTo>
                  <a:pt x="851" y="156"/>
                </a:lnTo>
                <a:close/>
                <a:moveTo>
                  <a:pt x="782" y="156"/>
                </a:moveTo>
                <a:lnTo>
                  <a:pt x="836" y="156"/>
                </a:lnTo>
                <a:lnTo>
                  <a:pt x="836" y="139"/>
                </a:lnTo>
                <a:lnTo>
                  <a:pt x="800" y="139"/>
                </a:lnTo>
                <a:lnTo>
                  <a:pt x="800" y="127"/>
                </a:lnTo>
                <a:lnTo>
                  <a:pt x="830" y="127"/>
                </a:lnTo>
                <a:lnTo>
                  <a:pt x="830" y="111"/>
                </a:lnTo>
                <a:lnTo>
                  <a:pt x="800" y="111"/>
                </a:lnTo>
                <a:lnTo>
                  <a:pt x="800" y="99"/>
                </a:lnTo>
                <a:lnTo>
                  <a:pt x="835" y="99"/>
                </a:lnTo>
                <a:lnTo>
                  <a:pt x="835" y="82"/>
                </a:lnTo>
                <a:lnTo>
                  <a:pt x="782" y="82"/>
                </a:lnTo>
                <a:lnTo>
                  <a:pt x="782" y="156"/>
                </a:lnTo>
                <a:close/>
                <a:moveTo>
                  <a:pt x="696" y="120"/>
                </a:moveTo>
                <a:lnTo>
                  <a:pt x="696" y="120"/>
                </a:lnTo>
                <a:lnTo>
                  <a:pt x="697" y="111"/>
                </a:lnTo>
                <a:lnTo>
                  <a:pt x="699" y="104"/>
                </a:lnTo>
                <a:lnTo>
                  <a:pt x="702" y="96"/>
                </a:lnTo>
                <a:lnTo>
                  <a:pt x="707" y="91"/>
                </a:lnTo>
                <a:lnTo>
                  <a:pt x="712" y="86"/>
                </a:lnTo>
                <a:lnTo>
                  <a:pt x="718" y="83"/>
                </a:lnTo>
                <a:lnTo>
                  <a:pt x="725" y="81"/>
                </a:lnTo>
                <a:lnTo>
                  <a:pt x="733" y="80"/>
                </a:lnTo>
                <a:lnTo>
                  <a:pt x="739" y="81"/>
                </a:lnTo>
                <a:lnTo>
                  <a:pt x="745" y="82"/>
                </a:lnTo>
                <a:lnTo>
                  <a:pt x="750" y="84"/>
                </a:lnTo>
                <a:lnTo>
                  <a:pt x="754" y="86"/>
                </a:lnTo>
                <a:lnTo>
                  <a:pt x="758" y="90"/>
                </a:lnTo>
                <a:lnTo>
                  <a:pt x="761" y="94"/>
                </a:lnTo>
                <a:lnTo>
                  <a:pt x="765" y="100"/>
                </a:lnTo>
                <a:lnTo>
                  <a:pt x="766" y="106"/>
                </a:lnTo>
                <a:lnTo>
                  <a:pt x="746" y="106"/>
                </a:lnTo>
                <a:lnTo>
                  <a:pt x="744" y="101"/>
                </a:lnTo>
                <a:lnTo>
                  <a:pt x="741" y="99"/>
                </a:lnTo>
                <a:lnTo>
                  <a:pt x="737" y="96"/>
                </a:lnTo>
                <a:lnTo>
                  <a:pt x="733" y="96"/>
                </a:lnTo>
                <a:lnTo>
                  <a:pt x="730" y="96"/>
                </a:lnTo>
                <a:lnTo>
                  <a:pt x="726" y="99"/>
                </a:lnTo>
                <a:lnTo>
                  <a:pt x="724" y="101"/>
                </a:lnTo>
                <a:lnTo>
                  <a:pt x="720" y="103"/>
                </a:lnTo>
                <a:lnTo>
                  <a:pt x="719" y="106"/>
                </a:lnTo>
                <a:lnTo>
                  <a:pt x="717" y="110"/>
                </a:lnTo>
                <a:lnTo>
                  <a:pt x="716" y="120"/>
                </a:lnTo>
                <a:lnTo>
                  <a:pt x="717" y="129"/>
                </a:lnTo>
                <a:lnTo>
                  <a:pt x="719" y="132"/>
                </a:lnTo>
                <a:lnTo>
                  <a:pt x="721" y="136"/>
                </a:lnTo>
                <a:lnTo>
                  <a:pt x="724" y="138"/>
                </a:lnTo>
                <a:lnTo>
                  <a:pt x="727" y="140"/>
                </a:lnTo>
                <a:lnTo>
                  <a:pt x="730" y="143"/>
                </a:lnTo>
                <a:lnTo>
                  <a:pt x="734" y="143"/>
                </a:lnTo>
                <a:lnTo>
                  <a:pt x="741" y="142"/>
                </a:lnTo>
                <a:lnTo>
                  <a:pt x="747" y="139"/>
                </a:lnTo>
                <a:lnTo>
                  <a:pt x="747" y="129"/>
                </a:lnTo>
                <a:lnTo>
                  <a:pt x="734" y="129"/>
                </a:lnTo>
                <a:lnTo>
                  <a:pt x="734" y="115"/>
                </a:lnTo>
                <a:lnTo>
                  <a:pt x="766" y="115"/>
                </a:lnTo>
                <a:lnTo>
                  <a:pt x="766" y="148"/>
                </a:lnTo>
                <a:lnTo>
                  <a:pt x="758" y="153"/>
                </a:lnTo>
                <a:lnTo>
                  <a:pt x="751" y="156"/>
                </a:lnTo>
                <a:lnTo>
                  <a:pt x="742" y="158"/>
                </a:lnTo>
                <a:lnTo>
                  <a:pt x="736" y="159"/>
                </a:lnTo>
                <a:lnTo>
                  <a:pt x="727" y="158"/>
                </a:lnTo>
                <a:lnTo>
                  <a:pt x="719" y="156"/>
                </a:lnTo>
                <a:lnTo>
                  <a:pt x="712" y="153"/>
                </a:lnTo>
                <a:lnTo>
                  <a:pt x="707" y="149"/>
                </a:lnTo>
                <a:lnTo>
                  <a:pt x="702" y="143"/>
                </a:lnTo>
                <a:lnTo>
                  <a:pt x="699" y="136"/>
                </a:lnTo>
                <a:lnTo>
                  <a:pt x="697" y="128"/>
                </a:lnTo>
                <a:lnTo>
                  <a:pt x="696" y="120"/>
                </a:lnTo>
                <a:close/>
                <a:moveTo>
                  <a:pt x="644" y="130"/>
                </a:moveTo>
                <a:lnTo>
                  <a:pt x="654" y="102"/>
                </a:lnTo>
                <a:lnTo>
                  <a:pt x="663" y="130"/>
                </a:lnTo>
                <a:lnTo>
                  <a:pt x="644" y="130"/>
                </a:lnTo>
                <a:close/>
                <a:moveTo>
                  <a:pt x="615" y="156"/>
                </a:moveTo>
                <a:lnTo>
                  <a:pt x="636" y="156"/>
                </a:lnTo>
                <a:lnTo>
                  <a:pt x="639" y="145"/>
                </a:lnTo>
                <a:lnTo>
                  <a:pt x="669" y="145"/>
                </a:lnTo>
                <a:lnTo>
                  <a:pt x="673" y="156"/>
                </a:lnTo>
                <a:lnTo>
                  <a:pt x="693" y="156"/>
                </a:lnTo>
                <a:lnTo>
                  <a:pt x="664" y="82"/>
                </a:lnTo>
                <a:lnTo>
                  <a:pt x="643" y="82"/>
                </a:lnTo>
                <a:lnTo>
                  <a:pt x="615" y="156"/>
                </a:lnTo>
                <a:close/>
                <a:moveTo>
                  <a:pt x="541" y="156"/>
                </a:moveTo>
                <a:lnTo>
                  <a:pt x="559" y="156"/>
                </a:lnTo>
                <a:lnTo>
                  <a:pt x="559" y="112"/>
                </a:lnTo>
                <a:lnTo>
                  <a:pt x="585" y="156"/>
                </a:lnTo>
                <a:lnTo>
                  <a:pt x="606" y="156"/>
                </a:lnTo>
                <a:lnTo>
                  <a:pt x="606" y="82"/>
                </a:lnTo>
                <a:lnTo>
                  <a:pt x="587" y="82"/>
                </a:lnTo>
                <a:lnTo>
                  <a:pt x="587" y="126"/>
                </a:lnTo>
                <a:lnTo>
                  <a:pt x="561" y="82"/>
                </a:lnTo>
                <a:lnTo>
                  <a:pt x="541" y="82"/>
                </a:lnTo>
                <a:lnTo>
                  <a:pt x="541" y="156"/>
                </a:lnTo>
                <a:close/>
                <a:moveTo>
                  <a:pt x="457" y="127"/>
                </a:moveTo>
                <a:lnTo>
                  <a:pt x="457" y="117"/>
                </a:lnTo>
                <a:lnTo>
                  <a:pt x="486" y="117"/>
                </a:lnTo>
                <a:lnTo>
                  <a:pt x="486" y="87"/>
                </a:lnTo>
                <a:lnTo>
                  <a:pt x="498" y="87"/>
                </a:lnTo>
                <a:lnTo>
                  <a:pt x="498" y="117"/>
                </a:lnTo>
                <a:lnTo>
                  <a:pt x="527" y="117"/>
                </a:lnTo>
                <a:lnTo>
                  <a:pt x="527" y="127"/>
                </a:lnTo>
                <a:lnTo>
                  <a:pt x="498" y="127"/>
                </a:lnTo>
                <a:lnTo>
                  <a:pt x="498" y="156"/>
                </a:lnTo>
                <a:lnTo>
                  <a:pt x="486" y="156"/>
                </a:lnTo>
                <a:lnTo>
                  <a:pt x="486" y="127"/>
                </a:lnTo>
                <a:lnTo>
                  <a:pt x="457" y="127"/>
                </a:lnTo>
                <a:close/>
                <a:moveTo>
                  <a:pt x="392" y="156"/>
                </a:moveTo>
                <a:lnTo>
                  <a:pt x="448" y="156"/>
                </a:lnTo>
                <a:lnTo>
                  <a:pt x="448" y="139"/>
                </a:lnTo>
                <a:lnTo>
                  <a:pt x="411" y="139"/>
                </a:lnTo>
                <a:lnTo>
                  <a:pt x="411" y="127"/>
                </a:lnTo>
                <a:lnTo>
                  <a:pt x="442" y="127"/>
                </a:lnTo>
                <a:lnTo>
                  <a:pt x="442" y="111"/>
                </a:lnTo>
                <a:lnTo>
                  <a:pt x="411" y="111"/>
                </a:lnTo>
                <a:lnTo>
                  <a:pt x="411" y="99"/>
                </a:lnTo>
                <a:lnTo>
                  <a:pt x="446" y="99"/>
                </a:lnTo>
                <a:lnTo>
                  <a:pt x="446" y="82"/>
                </a:lnTo>
                <a:lnTo>
                  <a:pt x="392" y="82"/>
                </a:lnTo>
                <a:lnTo>
                  <a:pt x="392" y="156"/>
                </a:lnTo>
                <a:close/>
                <a:moveTo>
                  <a:pt x="309" y="156"/>
                </a:moveTo>
                <a:lnTo>
                  <a:pt x="328" y="156"/>
                </a:lnTo>
                <a:lnTo>
                  <a:pt x="328" y="112"/>
                </a:lnTo>
                <a:lnTo>
                  <a:pt x="354" y="156"/>
                </a:lnTo>
                <a:lnTo>
                  <a:pt x="374" y="156"/>
                </a:lnTo>
                <a:lnTo>
                  <a:pt x="374" y="82"/>
                </a:lnTo>
                <a:lnTo>
                  <a:pt x="356" y="82"/>
                </a:lnTo>
                <a:lnTo>
                  <a:pt x="356" y="126"/>
                </a:lnTo>
                <a:lnTo>
                  <a:pt x="329" y="82"/>
                </a:lnTo>
                <a:lnTo>
                  <a:pt x="309" y="82"/>
                </a:lnTo>
                <a:lnTo>
                  <a:pt x="309" y="156"/>
                </a:lnTo>
                <a:close/>
                <a:moveTo>
                  <a:pt x="226" y="156"/>
                </a:moveTo>
                <a:lnTo>
                  <a:pt x="246" y="156"/>
                </a:lnTo>
                <a:lnTo>
                  <a:pt x="246" y="128"/>
                </a:lnTo>
                <a:lnTo>
                  <a:pt x="272" y="128"/>
                </a:lnTo>
                <a:lnTo>
                  <a:pt x="272" y="156"/>
                </a:lnTo>
                <a:lnTo>
                  <a:pt x="292" y="156"/>
                </a:lnTo>
                <a:lnTo>
                  <a:pt x="292" y="82"/>
                </a:lnTo>
                <a:lnTo>
                  <a:pt x="272" y="82"/>
                </a:lnTo>
                <a:lnTo>
                  <a:pt x="272" y="110"/>
                </a:lnTo>
                <a:lnTo>
                  <a:pt x="246" y="110"/>
                </a:lnTo>
                <a:lnTo>
                  <a:pt x="246" y="82"/>
                </a:lnTo>
                <a:lnTo>
                  <a:pt x="226" y="82"/>
                </a:lnTo>
                <a:lnTo>
                  <a:pt x="226" y="156"/>
                </a:lnTo>
                <a:close/>
                <a:moveTo>
                  <a:pt x="155" y="156"/>
                </a:moveTo>
                <a:lnTo>
                  <a:pt x="211" y="156"/>
                </a:lnTo>
                <a:lnTo>
                  <a:pt x="211" y="139"/>
                </a:lnTo>
                <a:lnTo>
                  <a:pt x="174" y="139"/>
                </a:lnTo>
                <a:lnTo>
                  <a:pt x="174" y="127"/>
                </a:lnTo>
                <a:lnTo>
                  <a:pt x="205" y="127"/>
                </a:lnTo>
                <a:lnTo>
                  <a:pt x="205" y="111"/>
                </a:lnTo>
                <a:lnTo>
                  <a:pt x="174" y="111"/>
                </a:lnTo>
                <a:lnTo>
                  <a:pt x="174" y="99"/>
                </a:lnTo>
                <a:lnTo>
                  <a:pt x="209" y="99"/>
                </a:lnTo>
                <a:lnTo>
                  <a:pt x="209" y="82"/>
                </a:lnTo>
                <a:lnTo>
                  <a:pt x="155" y="82"/>
                </a:lnTo>
                <a:lnTo>
                  <a:pt x="155" y="156"/>
                </a:lnTo>
                <a:close/>
                <a:moveTo>
                  <a:pt x="74" y="126"/>
                </a:moveTo>
                <a:lnTo>
                  <a:pt x="74" y="126"/>
                </a:lnTo>
                <a:lnTo>
                  <a:pt x="74" y="134"/>
                </a:lnTo>
                <a:lnTo>
                  <a:pt x="76" y="142"/>
                </a:lnTo>
                <a:lnTo>
                  <a:pt x="79" y="147"/>
                </a:lnTo>
                <a:lnTo>
                  <a:pt x="83" y="151"/>
                </a:lnTo>
                <a:lnTo>
                  <a:pt x="89" y="155"/>
                </a:lnTo>
                <a:lnTo>
                  <a:pt x="94" y="157"/>
                </a:lnTo>
                <a:lnTo>
                  <a:pt x="99" y="158"/>
                </a:lnTo>
                <a:lnTo>
                  <a:pt x="107" y="159"/>
                </a:lnTo>
                <a:lnTo>
                  <a:pt x="113" y="158"/>
                </a:lnTo>
                <a:lnTo>
                  <a:pt x="118" y="157"/>
                </a:lnTo>
                <a:lnTo>
                  <a:pt x="124" y="155"/>
                </a:lnTo>
                <a:lnTo>
                  <a:pt x="129" y="151"/>
                </a:lnTo>
                <a:lnTo>
                  <a:pt x="133" y="147"/>
                </a:lnTo>
                <a:lnTo>
                  <a:pt x="136" y="142"/>
                </a:lnTo>
                <a:lnTo>
                  <a:pt x="138" y="134"/>
                </a:lnTo>
                <a:lnTo>
                  <a:pt x="138" y="126"/>
                </a:lnTo>
                <a:lnTo>
                  <a:pt x="138" y="82"/>
                </a:lnTo>
                <a:lnTo>
                  <a:pt x="118" y="82"/>
                </a:lnTo>
                <a:lnTo>
                  <a:pt x="118" y="129"/>
                </a:lnTo>
                <a:lnTo>
                  <a:pt x="117" y="134"/>
                </a:lnTo>
                <a:lnTo>
                  <a:pt x="115" y="138"/>
                </a:lnTo>
                <a:lnTo>
                  <a:pt x="112" y="142"/>
                </a:lnTo>
                <a:lnTo>
                  <a:pt x="107" y="142"/>
                </a:lnTo>
                <a:lnTo>
                  <a:pt x="100" y="142"/>
                </a:lnTo>
                <a:lnTo>
                  <a:pt x="97" y="138"/>
                </a:lnTo>
                <a:lnTo>
                  <a:pt x="94" y="134"/>
                </a:lnTo>
                <a:lnTo>
                  <a:pt x="94" y="129"/>
                </a:lnTo>
                <a:lnTo>
                  <a:pt x="94" y="82"/>
                </a:lnTo>
                <a:lnTo>
                  <a:pt x="74" y="82"/>
                </a:lnTo>
                <a:lnTo>
                  <a:pt x="74" y="126"/>
                </a:lnTo>
                <a:close/>
                <a:moveTo>
                  <a:pt x="0" y="156"/>
                </a:moveTo>
                <a:lnTo>
                  <a:pt x="20" y="156"/>
                </a:lnTo>
                <a:lnTo>
                  <a:pt x="20" y="135"/>
                </a:lnTo>
                <a:lnTo>
                  <a:pt x="26" y="127"/>
                </a:lnTo>
                <a:lnTo>
                  <a:pt x="43" y="156"/>
                </a:lnTo>
                <a:lnTo>
                  <a:pt x="66" y="156"/>
                </a:lnTo>
                <a:lnTo>
                  <a:pt x="40" y="112"/>
                </a:lnTo>
                <a:lnTo>
                  <a:pt x="63" y="82"/>
                </a:lnTo>
                <a:lnTo>
                  <a:pt x="40" y="82"/>
                </a:lnTo>
                <a:lnTo>
                  <a:pt x="20" y="109"/>
                </a:lnTo>
                <a:lnTo>
                  <a:pt x="20" y="82"/>
                </a:lnTo>
                <a:lnTo>
                  <a:pt x="0" y="82"/>
                </a:lnTo>
                <a:lnTo>
                  <a:pt x="0" y="1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Text Placeholder 2"/>
          <p:cNvSpPr>
            <a:spLocks noGrp="1"/>
          </p:cNvSpPr>
          <p:nvPr>
            <p:ph type="body" sz="quarter" idx="13"/>
          </p:nvPr>
        </p:nvSpPr>
        <p:spPr>
          <a:xfrm>
            <a:off x="550865" y="2348726"/>
            <a:ext cx="8316910" cy="3960000"/>
          </a:xfrm>
        </p:spPr>
        <p:txBody>
          <a:bodyPr>
            <a:noAutofit/>
          </a:bodyPr>
          <a:lstStyle>
            <a:lvl1pPr>
              <a:spcAft>
                <a:spcPts val="1200"/>
              </a:spcAft>
              <a:defRPr sz="3600" b="1">
                <a:solidFill>
                  <a:schemeClr val="bg1"/>
                </a:solidFill>
              </a:defRPr>
            </a:lvl1pPr>
          </a:lstStyle>
          <a:p>
            <a:pPr lvl="0"/>
            <a:r>
              <a:rPr lang="en-US"/>
              <a:t>Click to edit Master text styles</a:t>
            </a:r>
          </a:p>
        </p:txBody>
      </p:sp>
      <p:sp>
        <p:nvSpPr>
          <p:cNvPr id="4" name="Slide Number Placeholder 3">
            <a:extLst>
              <a:ext uri="{FF2B5EF4-FFF2-40B4-BE49-F238E27FC236}">
                <a16:creationId xmlns:a16="http://schemas.microsoft.com/office/drawing/2014/main" id="{4818D234-7B65-1887-E581-CD2A2763D68B}"/>
              </a:ext>
            </a:extLst>
          </p:cNvPr>
          <p:cNvSpPr>
            <a:spLocks noGrp="1"/>
          </p:cNvSpPr>
          <p:nvPr>
            <p:ph type="sldNum" sz="quarter" idx="14"/>
          </p:nvPr>
        </p:nvSpPr>
        <p:spPr/>
        <p:txBody>
          <a:bodyPr/>
          <a:lstStyle>
            <a:lvl1pPr algn="r">
              <a:defRPr sz="1000">
                <a:solidFill>
                  <a:schemeClr val="bg1"/>
                </a:solidFill>
              </a:defRPr>
            </a:lvl1pPr>
          </a:lstStyle>
          <a:p>
            <a:pPr>
              <a:defRPr/>
            </a:pPr>
            <a:fld id="{92FEC9D4-4B8E-4A04-8669-F13D2EC09F4D}" type="slidenum">
              <a:rPr lang="en-GB"/>
              <a:pPr>
                <a:defRPr/>
              </a:pPr>
              <a:t>‹#›</a:t>
            </a:fld>
            <a:endParaRPr lang="en-GB" dirty="0"/>
          </a:p>
        </p:txBody>
      </p:sp>
    </p:spTree>
    <p:extLst>
      <p:ext uri="{BB962C8B-B14F-4D97-AF65-F5344CB8AC3E}">
        <p14:creationId xmlns:p14="http://schemas.microsoft.com/office/powerpoint/2010/main" val="3460660666"/>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_message_white_60pt">
    <p:spTree>
      <p:nvGrpSpPr>
        <p:cNvPr id="1" name=""/>
        <p:cNvGrpSpPr/>
        <p:nvPr/>
      </p:nvGrpSpPr>
      <p:grpSpPr>
        <a:xfrm>
          <a:off x="0" y="0"/>
          <a:ext cx="0" cy="0"/>
          <a:chOff x="0" y="0"/>
          <a:chExt cx="0" cy="0"/>
        </a:xfrm>
      </p:grpSpPr>
      <p:sp>
        <p:nvSpPr>
          <p:cNvPr id="4" name="Text Placeholder 2"/>
          <p:cNvSpPr>
            <a:spLocks noGrp="1"/>
          </p:cNvSpPr>
          <p:nvPr>
            <p:ph type="body" sz="quarter" idx="13"/>
          </p:nvPr>
        </p:nvSpPr>
        <p:spPr>
          <a:xfrm>
            <a:off x="550865" y="2348726"/>
            <a:ext cx="8316910" cy="3960000"/>
          </a:xfrm>
        </p:spPr>
        <p:txBody>
          <a:bodyPr>
            <a:noAutofit/>
          </a:bodyPr>
          <a:lstStyle>
            <a:lvl1pPr>
              <a:spcAft>
                <a:spcPts val="1200"/>
              </a:spcAft>
              <a:defRPr sz="6000" b="1"/>
            </a:lvl1pPr>
          </a:lstStyle>
          <a:p>
            <a:pPr lvl="0"/>
            <a:r>
              <a:rPr lang="en-US"/>
              <a:t>Click to edit Master text styles</a:t>
            </a:r>
          </a:p>
        </p:txBody>
      </p:sp>
      <p:sp>
        <p:nvSpPr>
          <p:cNvPr id="2" name="Slide Number Placeholder 3">
            <a:extLst>
              <a:ext uri="{FF2B5EF4-FFF2-40B4-BE49-F238E27FC236}">
                <a16:creationId xmlns:a16="http://schemas.microsoft.com/office/drawing/2014/main" id="{D01CF5B6-5676-36C9-01A2-38F01F71CCBE}"/>
              </a:ext>
            </a:extLst>
          </p:cNvPr>
          <p:cNvSpPr>
            <a:spLocks noGrp="1"/>
          </p:cNvSpPr>
          <p:nvPr>
            <p:ph type="sldNum" sz="quarter" idx="14"/>
          </p:nvPr>
        </p:nvSpPr>
        <p:spPr/>
        <p:txBody>
          <a:bodyPr/>
          <a:lstStyle>
            <a:lvl1pPr algn="r">
              <a:defRPr sz="1000">
                <a:solidFill>
                  <a:srgbClr val="000000"/>
                </a:solidFill>
              </a:defRPr>
            </a:lvl1pPr>
          </a:lstStyle>
          <a:p>
            <a:pPr>
              <a:defRPr/>
            </a:pPr>
            <a:fld id="{142F2995-855E-41BF-A744-CBB44A6E06F4}" type="slidenum">
              <a:rPr lang="en-GB"/>
              <a:pPr>
                <a:defRPr/>
              </a:pPr>
              <a:t>‹#›</a:t>
            </a:fld>
            <a:endParaRPr lang="en-GB" dirty="0"/>
          </a:p>
        </p:txBody>
      </p:sp>
    </p:spTree>
    <p:extLst>
      <p:ext uri="{BB962C8B-B14F-4D97-AF65-F5344CB8AC3E}">
        <p14:creationId xmlns:p14="http://schemas.microsoft.com/office/powerpoint/2010/main" val="1456887757"/>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_message_BlueBG_60p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EC30EDF-F492-8F69-7A3C-FCA09C8DFF1C}"/>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5">
            <a:extLst>
              <a:ext uri="{FF2B5EF4-FFF2-40B4-BE49-F238E27FC236}">
                <a16:creationId xmlns:a16="http://schemas.microsoft.com/office/drawing/2014/main" id="{ED0C9E6D-69D8-B819-E220-0F82D8871651}"/>
              </a:ext>
            </a:extLst>
          </p:cNvPr>
          <p:cNvSpPr>
            <a:spLocks noEditPoints="1"/>
          </p:cNvSpPr>
          <p:nvPr/>
        </p:nvSpPr>
        <p:spPr bwMode="auto">
          <a:xfrm>
            <a:off x="9721850" y="558800"/>
            <a:ext cx="1908175" cy="379413"/>
          </a:xfrm>
          <a:custGeom>
            <a:avLst/>
            <a:gdLst>
              <a:gd name="T0" fmla="*/ 1714967 w 1196"/>
              <a:gd name="T1" fmla="*/ 111125 h 239"/>
              <a:gd name="T2" fmla="*/ 1729324 w 1196"/>
              <a:gd name="T3" fmla="*/ 142875 h 239"/>
              <a:gd name="T4" fmla="*/ 1695823 w 1196"/>
              <a:gd name="T5" fmla="*/ 130175 h 239"/>
              <a:gd name="T6" fmla="*/ 1649559 w 1196"/>
              <a:gd name="T7" fmla="*/ 368300 h 239"/>
              <a:gd name="T8" fmla="*/ 1750064 w 1196"/>
              <a:gd name="T9" fmla="*/ 376238 h 239"/>
              <a:gd name="T10" fmla="*/ 1813876 w 1196"/>
              <a:gd name="T11" fmla="*/ 309563 h 239"/>
              <a:gd name="T12" fmla="*/ 1764421 w 1196"/>
              <a:gd name="T13" fmla="*/ 212725 h 239"/>
              <a:gd name="T14" fmla="*/ 1756445 w 1196"/>
              <a:gd name="T15" fmla="*/ 142875 h 239"/>
              <a:gd name="T16" fmla="*/ 1746873 w 1196"/>
              <a:gd name="T17" fmla="*/ 100013 h 239"/>
              <a:gd name="T18" fmla="*/ 1697418 w 1196"/>
              <a:gd name="T19" fmla="*/ 92075 h 239"/>
              <a:gd name="T20" fmla="*/ 1670298 w 1196"/>
              <a:gd name="T21" fmla="*/ 130175 h 239"/>
              <a:gd name="T22" fmla="*/ 1665512 w 1196"/>
              <a:gd name="T23" fmla="*/ 187325 h 239"/>
              <a:gd name="T24" fmla="*/ 1633605 w 1196"/>
              <a:gd name="T25" fmla="*/ 322263 h 239"/>
              <a:gd name="T26" fmla="*/ 1531505 w 1196"/>
              <a:gd name="T27" fmla="*/ 133350 h 239"/>
              <a:gd name="T28" fmla="*/ 1608080 w 1196"/>
              <a:gd name="T29" fmla="*/ 33338 h 239"/>
              <a:gd name="T30" fmla="*/ 1716562 w 1196"/>
              <a:gd name="T31" fmla="*/ 0 h 239"/>
              <a:gd name="T32" fmla="*/ 1837806 w 1196"/>
              <a:gd name="T33" fmla="*/ 42863 h 239"/>
              <a:gd name="T34" fmla="*/ 1904809 w 1196"/>
              <a:gd name="T35" fmla="*/ 149225 h 239"/>
              <a:gd name="T36" fmla="*/ 1895237 w 1196"/>
              <a:gd name="T37" fmla="*/ 254000 h 239"/>
              <a:gd name="T38" fmla="*/ 1844187 w 1196"/>
              <a:gd name="T39" fmla="*/ 276225 h 239"/>
              <a:gd name="T40" fmla="*/ 1872903 w 1196"/>
              <a:gd name="T41" fmla="*/ 187325 h 239"/>
              <a:gd name="T42" fmla="*/ 1845783 w 1196"/>
              <a:gd name="T43" fmla="*/ 101600 h 239"/>
              <a:gd name="T44" fmla="*/ 1761231 w 1196"/>
              <a:gd name="T45" fmla="*/ 39688 h 239"/>
              <a:gd name="T46" fmla="*/ 1668702 w 1196"/>
              <a:gd name="T47" fmla="*/ 39688 h 239"/>
              <a:gd name="T48" fmla="*/ 1587341 w 1196"/>
              <a:gd name="T49" fmla="*/ 101600 h 239"/>
              <a:gd name="T50" fmla="*/ 1560221 w 1196"/>
              <a:gd name="T51" fmla="*/ 187325 h 239"/>
              <a:gd name="T52" fmla="*/ 1587341 w 1196"/>
              <a:gd name="T53" fmla="*/ 276225 h 239"/>
              <a:gd name="T54" fmla="*/ 1536291 w 1196"/>
              <a:gd name="T55" fmla="*/ 254000 h 239"/>
              <a:gd name="T56" fmla="*/ 1357615 w 1196"/>
              <a:gd name="T57" fmla="*/ 130175 h 239"/>
              <a:gd name="T58" fmla="*/ 1333686 w 1196"/>
              <a:gd name="T59" fmla="*/ 247650 h 239"/>
              <a:gd name="T60" fmla="*/ 1276254 w 1196"/>
              <a:gd name="T61" fmla="*/ 157163 h 239"/>
              <a:gd name="T62" fmla="*/ 1111936 w 1196"/>
              <a:gd name="T63" fmla="*/ 176213 h 239"/>
              <a:gd name="T64" fmla="*/ 1169368 w 1196"/>
              <a:gd name="T65" fmla="*/ 127000 h 239"/>
              <a:gd name="T66" fmla="*/ 1214037 w 1196"/>
              <a:gd name="T67" fmla="*/ 149225 h 239"/>
              <a:gd name="T68" fmla="*/ 1175749 w 1196"/>
              <a:gd name="T69" fmla="*/ 152400 h 239"/>
              <a:gd name="T70" fmla="*/ 1147033 w 1196"/>
              <a:gd name="T71" fmla="*/ 168275 h 239"/>
              <a:gd name="T72" fmla="*/ 1155010 w 1196"/>
              <a:gd name="T73" fmla="*/ 219075 h 239"/>
              <a:gd name="T74" fmla="*/ 1191702 w 1196"/>
              <a:gd name="T75" fmla="*/ 204788 h 239"/>
              <a:gd name="T76" fmla="*/ 1198084 w 1196"/>
              <a:gd name="T77" fmla="*/ 247650 h 239"/>
              <a:gd name="T78" fmla="*/ 1127890 w 1196"/>
              <a:gd name="T79" fmla="*/ 236538 h 239"/>
              <a:gd name="T80" fmla="*/ 1043338 w 1196"/>
              <a:gd name="T81" fmla="*/ 161925 h 239"/>
              <a:gd name="T82" fmla="*/ 1073649 w 1196"/>
              <a:gd name="T83" fmla="*/ 247650 h 239"/>
              <a:gd name="T84" fmla="*/ 891783 w 1196"/>
              <a:gd name="T85" fmla="*/ 177800 h 239"/>
              <a:gd name="T86" fmla="*/ 863067 w 1196"/>
              <a:gd name="T87" fmla="*/ 130175 h 239"/>
              <a:gd name="T88" fmla="*/ 794468 w 1196"/>
              <a:gd name="T89" fmla="*/ 185738 h 239"/>
              <a:gd name="T90" fmla="*/ 729060 w 1196"/>
              <a:gd name="T91" fmla="*/ 201613 h 239"/>
              <a:gd name="T92" fmla="*/ 705130 w 1196"/>
              <a:gd name="T93" fmla="*/ 176213 h 239"/>
              <a:gd name="T94" fmla="*/ 492953 w 1196"/>
              <a:gd name="T95" fmla="*/ 247650 h 239"/>
              <a:gd name="T96" fmla="*/ 567933 w 1196"/>
              <a:gd name="T97" fmla="*/ 200025 h 239"/>
              <a:gd name="T98" fmla="*/ 433926 w 1196"/>
              <a:gd name="T99" fmla="*/ 203200 h 239"/>
              <a:gd name="T100" fmla="*/ 392448 w 1196"/>
              <a:gd name="T101" fmla="*/ 130175 h 239"/>
              <a:gd name="T102" fmla="*/ 277585 w 1196"/>
              <a:gd name="T103" fmla="*/ 201613 h 239"/>
              <a:gd name="T104" fmla="*/ 247274 w 1196"/>
              <a:gd name="T105" fmla="*/ 130175 h 239"/>
              <a:gd name="T106" fmla="*/ 132411 w 1196"/>
              <a:gd name="T107" fmla="*/ 239713 h 239"/>
              <a:gd name="T108" fmla="*/ 188247 w 1196"/>
              <a:gd name="T109" fmla="*/ 249238 h 239"/>
              <a:gd name="T110" fmla="*/ 220154 w 1196"/>
              <a:gd name="T111" fmla="*/ 130175 h 239"/>
              <a:gd name="T112" fmla="*/ 170699 w 1196"/>
              <a:gd name="T113" fmla="*/ 225425 h 239"/>
              <a:gd name="T114" fmla="*/ 118054 w 1196"/>
              <a:gd name="T115" fmla="*/ 130175 h 239"/>
              <a:gd name="T116" fmla="*/ 105291 w 1196"/>
              <a:gd name="T117" fmla="*/ 247650 h 239"/>
              <a:gd name="T118" fmla="*/ 0 w 1196"/>
              <a:gd name="T119" fmla="*/ 247650 h 2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96" h="239">
                <a:moveTo>
                  <a:pt x="1063" y="82"/>
                </a:moveTo>
                <a:lnTo>
                  <a:pt x="1063" y="82"/>
                </a:lnTo>
                <a:lnTo>
                  <a:pt x="1064" y="78"/>
                </a:lnTo>
                <a:lnTo>
                  <a:pt x="1066" y="73"/>
                </a:lnTo>
                <a:lnTo>
                  <a:pt x="1070" y="71"/>
                </a:lnTo>
                <a:lnTo>
                  <a:pt x="1075" y="70"/>
                </a:lnTo>
                <a:lnTo>
                  <a:pt x="1080" y="71"/>
                </a:lnTo>
                <a:lnTo>
                  <a:pt x="1084" y="73"/>
                </a:lnTo>
                <a:lnTo>
                  <a:pt x="1086" y="78"/>
                </a:lnTo>
                <a:lnTo>
                  <a:pt x="1087" y="82"/>
                </a:lnTo>
                <a:lnTo>
                  <a:pt x="1086" y="87"/>
                </a:lnTo>
                <a:lnTo>
                  <a:pt x="1084" y="90"/>
                </a:lnTo>
                <a:lnTo>
                  <a:pt x="1080" y="93"/>
                </a:lnTo>
                <a:lnTo>
                  <a:pt x="1075" y="94"/>
                </a:lnTo>
                <a:lnTo>
                  <a:pt x="1070" y="93"/>
                </a:lnTo>
                <a:lnTo>
                  <a:pt x="1066" y="90"/>
                </a:lnTo>
                <a:lnTo>
                  <a:pt x="1064" y="87"/>
                </a:lnTo>
                <a:lnTo>
                  <a:pt x="1063" y="82"/>
                </a:lnTo>
                <a:close/>
                <a:moveTo>
                  <a:pt x="998" y="211"/>
                </a:moveTo>
                <a:lnTo>
                  <a:pt x="998" y="211"/>
                </a:lnTo>
                <a:lnTo>
                  <a:pt x="1006" y="217"/>
                </a:lnTo>
                <a:lnTo>
                  <a:pt x="1015" y="222"/>
                </a:lnTo>
                <a:lnTo>
                  <a:pt x="1024" y="227"/>
                </a:lnTo>
                <a:lnTo>
                  <a:pt x="1034" y="232"/>
                </a:lnTo>
                <a:lnTo>
                  <a:pt x="1044" y="235"/>
                </a:lnTo>
                <a:lnTo>
                  <a:pt x="1054" y="237"/>
                </a:lnTo>
                <a:lnTo>
                  <a:pt x="1064" y="238"/>
                </a:lnTo>
                <a:lnTo>
                  <a:pt x="1076" y="239"/>
                </a:lnTo>
                <a:lnTo>
                  <a:pt x="1086" y="238"/>
                </a:lnTo>
                <a:lnTo>
                  <a:pt x="1097" y="237"/>
                </a:lnTo>
                <a:lnTo>
                  <a:pt x="1106" y="235"/>
                </a:lnTo>
                <a:lnTo>
                  <a:pt x="1117" y="232"/>
                </a:lnTo>
                <a:lnTo>
                  <a:pt x="1126" y="227"/>
                </a:lnTo>
                <a:lnTo>
                  <a:pt x="1136" y="222"/>
                </a:lnTo>
                <a:lnTo>
                  <a:pt x="1144" y="217"/>
                </a:lnTo>
                <a:lnTo>
                  <a:pt x="1153" y="211"/>
                </a:lnTo>
                <a:lnTo>
                  <a:pt x="1137" y="195"/>
                </a:lnTo>
                <a:lnTo>
                  <a:pt x="1126" y="203"/>
                </a:lnTo>
                <a:lnTo>
                  <a:pt x="1114" y="211"/>
                </a:lnTo>
                <a:lnTo>
                  <a:pt x="1100" y="216"/>
                </a:lnTo>
                <a:lnTo>
                  <a:pt x="1086" y="218"/>
                </a:lnTo>
                <a:lnTo>
                  <a:pt x="1086" y="134"/>
                </a:lnTo>
                <a:lnTo>
                  <a:pt x="1106" y="134"/>
                </a:lnTo>
                <a:lnTo>
                  <a:pt x="1106" y="118"/>
                </a:lnTo>
                <a:lnTo>
                  <a:pt x="1086" y="118"/>
                </a:lnTo>
                <a:lnTo>
                  <a:pt x="1086" y="106"/>
                </a:lnTo>
                <a:lnTo>
                  <a:pt x="1093" y="103"/>
                </a:lnTo>
                <a:lnTo>
                  <a:pt x="1098" y="97"/>
                </a:lnTo>
                <a:lnTo>
                  <a:pt x="1101" y="90"/>
                </a:lnTo>
                <a:lnTo>
                  <a:pt x="1102" y="86"/>
                </a:lnTo>
                <a:lnTo>
                  <a:pt x="1103" y="82"/>
                </a:lnTo>
                <a:lnTo>
                  <a:pt x="1102" y="77"/>
                </a:lnTo>
                <a:lnTo>
                  <a:pt x="1101" y="71"/>
                </a:lnTo>
                <a:lnTo>
                  <a:pt x="1098" y="67"/>
                </a:lnTo>
                <a:lnTo>
                  <a:pt x="1095" y="63"/>
                </a:lnTo>
                <a:lnTo>
                  <a:pt x="1091" y="60"/>
                </a:lnTo>
                <a:lnTo>
                  <a:pt x="1086" y="58"/>
                </a:lnTo>
                <a:lnTo>
                  <a:pt x="1081" y="56"/>
                </a:lnTo>
                <a:lnTo>
                  <a:pt x="1076" y="56"/>
                </a:lnTo>
                <a:lnTo>
                  <a:pt x="1069" y="56"/>
                </a:lnTo>
                <a:lnTo>
                  <a:pt x="1064" y="58"/>
                </a:lnTo>
                <a:lnTo>
                  <a:pt x="1060" y="60"/>
                </a:lnTo>
                <a:lnTo>
                  <a:pt x="1056" y="63"/>
                </a:lnTo>
                <a:lnTo>
                  <a:pt x="1053" y="67"/>
                </a:lnTo>
                <a:lnTo>
                  <a:pt x="1049" y="71"/>
                </a:lnTo>
                <a:lnTo>
                  <a:pt x="1048" y="77"/>
                </a:lnTo>
                <a:lnTo>
                  <a:pt x="1047" y="82"/>
                </a:lnTo>
                <a:lnTo>
                  <a:pt x="1048" y="86"/>
                </a:lnTo>
                <a:lnTo>
                  <a:pt x="1049" y="90"/>
                </a:lnTo>
                <a:lnTo>
                  <a:pt x="1053" y="97"/>
                </a:lnTo>
                <a:lnTo>
                  <a:pt x="1058" y="103"/>
                </a:lnTo>
                <a:lnTo>
                  <a:pt x="1064" y="106"/>
                </a:lnTo>
                <a:lnTo>
                  <a:pt x="1064" y="118"/>
                </a:lnTo>
                <a:lnTo>
                  <a:pt x="1044" y="118"/>
                </a:lnTo>
                <a:lnTo>
                  <a:pt x="1044" y="134"/>
                </a:lnTo>
                <a:lnTo>
                  <a:pt x="1064" y="134"/>
                </a:lnTo>
                <a:lnTo>
                  <a:pt x="1064" y="218"/>
                </a:lnTo>
                <a:lnTo>
                  <a:pt x="1050" y="216"/>
                </a:lnTo>
                <a:lnTo>
                  <a:pt x="1037" y="211"/>
                </a:lnTo>
                <a:lnTo>
                  <a:pt x="1024" y="203"/>
                </a:lnTo>
                <a:lnTo>
                  <a:pt x="1014" y="195"/>
                </a:lnTo>
                <a:lnTo>
                  <a:pt x="998" y="211"/>
                </a:lnTo>
                <a:close/>
                <a:moveTo>
                  <a:pt x="954" y="118"/>
                </a:moveTo>
                <a:lnTo>
                  <a:pt x="954" y="118"/>
                </a:lnTo>
                <a:lnTo>
                  <a:pt x="956" y="107"/>
                </a:lnTo>
                <a:lnTo>
                  <a:pt x="958" y="94"/>
                </a:lnTo>
                <a:lnTo>
                  <a:pt x="960" y="84"/>
                </a:lnTo>
                <a:lnTo>
                  <a:pt x="964" y="72"/>
                </a:lnTo>
                <a:lnTo>
                  <a:pt x="969" y="62"/>
                </a:lnTo>
                <a:lnTo>
                  <a:pt x="976" y="52"/>
                </a:lnTo>
                <a:lnTo>
                  <a:pt x="982" y="43"/>
                </a:lnTo>
                <a:lnTo>
                  <a:pt x="990" y="35"/>
                </a:lnTo>
                <a:lnTo>
                  <a:pt x="999" y="27"/>
                </a:lnTo>
                <a:lnTo>
                  <a:pt x="1008" y="21"/>
                </a:lnTo>
                <a:lnTo>
                  <a:pt x="1018" y="15"/>
                </a:lnTo>
                <a:lnTo>
                  <a:pt x="1028" y="9"/>
                </a:lnTo>
                <a:lnTo>
                  <a:pt x="1040" y="5"/>
                </a:lnTo>
                <a:lnTo>
                  <a:pt x="1052" y="3"/>
                </a:lnTo>
                <a:lnTo>
                  <a:pt x="1063" y="1"/>
                </a:lnTo>
                <a:lnTo>
                  <a:pt x="1076" y="0"/>
                </a:lnTo>
                <a:lnTo>
                  <a:pt x="1087" y="1"/>
                </a:lnTo>
                <a:lnTo>
                  <a:pt x="1100" y="3"/>
                </a:lnTo>
                <a:lnTo>
                  <a:pt x="1111" y="5"/>
                </a:lnTo>
                <a:lnTo>
                  <a:pt x="1122" y="9"/>
                </a:lnTo>
                <a:lnTo>
                  <a:pt x="1133" y="15"/>
                </a:lnTo>
                <a:lnTo>
                  <a:pt x="1142" y="21"/>
                </a:lnTo>
                <a:lnTo>
                  <a:pt x="1152" y="27"/>
                </a:lnTo>
                <a:lnTo>
                  <a:pt x="1160" y="35"/>
                </a:lnTo>
                <a:lnTo>
                  <a:pt x="1169" y="43"/>
                </a:lnTo>
                <a:lnTo>
                  <a:pt x="1175" y="52"/>
                </a:lnTo>
                <a:lnTo>
                  <a:pt x="1181" y="62"/>
                </a:lnTo>
                <a:lnTo>
                  <a:pt x="1187" y="72"/>
                </a:lnTo>
                <a:lnTo>
                  <a:pt x="1191" y="84"/>
                </a:lnTo>
                <a:lnTo>
                  <a:pt x="1194" y="94"/>
                </a:lnTo>
                <a:lnTo>
                  <a:pt x="1195" y="107"/>
                </a:lnTo>
                <a:lnTo>
                  <a:pt x="1196" y="118"/>
                </a:lnTo>
                <a:lnTo>
                  <a:pt x="1195" y="130"/>
                </a:lnTo>
                <a:lnTo>
                  <a:pt x="1194" y="140"/>
                </a:lnTo>
                <a:lnTo>
                  <a:pt x="1192" y="151"/>
                </a:lnTo>
                <a:lnTo>
                  <a:pt x="1188" y="160"/>
                </a:lnTo>
                <a:lnTo>
                  <a:pt x="1184" y="171"/>
                </a:lnTo>
                <a:lnTo>
                  <a:pt x="1179" y="179"/>
                </a:lnTo>
                <a:lnTo>
                  <a:pt x="1173" y="189"/>
                </a:lnTo>
                <a:lnTo>
                  <a:pt x="1166" y="197"/>
                </a:lnTo>
                <a:lnTo>
                  <a:pt x="1151" y="181"/>
                </a:lnTo>
                <a:lnTo>
                  <a:pt x="1156" y="174"/>
                </a:lnTo>
                <a:lnTo>
                  <a:pt x="1160" y="167"/>
                </a:lnTo>
                <a:lnTo>
                  <a:pt x="1164" y="159"/>
                </a:lnTo>
                <a:lnTo>
                  <a:pt x="1168" y="152"/>
                </a:lnTo>
                <a:lnTo>
                  <a:pt x="1170" y="144"/>
                </a:lnTo>
                <a:lnTo>
                  <a:pt x="1172" y="135"/>
                </a:lnTo>
                <a:lnTo>
                  <a:pt x="1173" y="127"/>
                </a:lnTo>
                <a:lnTo>
                  <a:pt x="1174" y="118"/>
                </a:lnTo>
                <a:lnTo>
                  <a:pt x="1173" y="109"/>
                </a:lnTo>
                <a:lnTo>
                  <a:pt x="1172" y="100"/>
                </a:lnTo>
                <a:lnTo>
                  <a:pt x="1169" y="90"/>
                </a:lnTo>
                <a:lnTo>
                  <a:pt x="1165" y="81"/>
                </a:lnTo>
                <a:lnTo>
                  <a:pt x="1161" y="72"/>
                </a:lnTo>
                <a:lnTo>
                  <a:pt x="1157" y="64"/>
                </a:lnTo>
                <a:lnTo>
                  <a:pt x="1151" y="57"/>
                </a:lnTo>
                <a:lnTo>
                  <a:pt x="1144" y="49"/>
                </a:lnTo>
                <a:lnTo>
                  <a:pt x="1138" y="43"/>
                </a:lnTo>
                <a:lnTo>
                  <a:pt x="1130" y="38"/>
                </a:lnTo>
                <a:lnTo>
                  <a:pt x="1122" y="32"/>
                </a:lnTo>
                <a:lnTo>
                  <a:pt x="1114" y="28"/>
                </a:lnTo>
                <a:lnTo>
                  <a:pt x="1104" y="25"/>
                </a:lnTo>
                <a:lnTo>
                  <a:pt x="1095" y="23"/>
                </a:lnTo>
                <a:lnTo>
                  <a:pt x="1085" y="21"/>
                </a:lnTo>
                <a:lnTo>
                  <a:pt x="1076" y="21"/>
                </a:lnTo>
                <a:lnTo>
                  <a:pt x="1065" y="21"/>
                </a:lnTo>
                <a:lnTo>
                  <a:pt x="1056" y="23"/>
                </a:lnTo>
                <a:lnTo>
                  <a:pt x="1046" y="25"/>
                </a:lnTo>
                <a:lnTo>
                  <a:pt x="1037" y="28"/>
                </a:lnTo>
                <a:lnTo>
                  <a:pt x="1028" y="32"/>
                </a:lnTo>
                <a:lnTo>
                  <a:pt x="1021" y="38"/>
                </a:lnTo>
                <a:lnTo>
                  <a:pt x="1014" y="43"/>
                </a:lnTo>
                <a:lnTo>
                  <a:pt x="1006" y="49"/>
                </a:lnTo>
                <a:lnTo>
                  <a:pt x="1000" y="57"/>
                </a:lnTo>
                <a:lnTo>
                  <a:pt x="995" y="64"/>
                </a:lnTo>
                <a:lnTo>
                  <a:pt x="989" y="72"/>
                </a:lnTo>
                <a:lnTo>
                  <a:pt x="985" y="81"/>
                </a:lnTo>
                <a:lnTo>
                  <a:pt x="982" y="90"/>
                </a:lnTo>
                <a:lnTo>
                  <a:pt x="979" y="100"/>
                </a:lnTo>
                <a:lnTo>
                  <a:pt x="978" y="109"/>
                </a:lnTo>
                <a:lnTo>
                  <a:pt x="978" y="118"/>
                </a:lnTo>
                <a:lnTo>
                  <a:pt x="978" y="127"/>
                </a:lnTo>
                <a:lnTo>
                  <a:pt x="979" y="135"/>
                </a:lnTo>
                <a:lnTo>
                  <a:pt x="981" y="144"/>
                </a:lnTo>
                <a:lnTo>
                  <a:pt x="983" y="152"/>
                </a:lnTo>
                <a:lnTo>
                  <a:pt x="986" y="159"/>
                </a:lnTo>
                <a:lnTo>
                  <a:pt x="990" y="167"/>
                </a:lnTo>
                <a:lnTo>
                  <a:pt x="995" y="174"/>
                </a:lnTo>
                <a:lnTo>
                  <a:pt x="1000" y="181"/>
                </a:lnTo>
                <a:lnTo>
                  <a:pt x="984" y="197"/>
                </a:lnTo>
                <a:lnTo>
                  <a:pt x="978" y="189"/>
                </a:lnTo>
                <a:lnTo>
                  <a:pt x="971" y="179"/>
                </a:lnTo>
                <a:lnTo>
                  <a:pt x="967" y="171"/>
                </a:lnTo>
                <a:lnTo>
                  <a:pt x="963" y="160"/>
                </a:lnTo>
                <a:lnTo>
                  <a:pt x="959" y="151"/>
                </a:lnTo>
                <a:lnTo>
                  <a:pt x="957" y="140"/>
                </a:lnTo>
                <a:lnTo>
                  <a:pt x="956" y="130"/>
                </a:lnTo>
                <a:lnTo>
                  <a:pt x="954" y="118"/>
                </a:lnTo>
                <a:close/>
                <a:moveTo>
                  <a:pt x="851" y="156"/>
                </a:moveTo>
                <a:lnTo>
                  <a:pt x="851" y="82"/>
                </a:lnTo>
                <a:lnTo>
                  <a:pt x="871" y="82"/>
                </a:lnTo>
                <a:lnTo>
                  <a:pt x="871" y="139"/>
                </a:lnTo>
                <a:lnTo>
                  <a:pt x="905" y="139"/>
                </a:lnTo>
                <a:lnTo>
                  <a:pt x="905" y="156"/>
                </a:lnTo>
                <a:lnTo>
                  <a:pt x="851" y="156"/>
                </a:lnTo>
                <a:close/>
                <a:moveTo>
                  <a:pt x="782" y="156"/>
                </a:moveTo>
                <a:lnTo>
                  <a:pt x="836" y="156"/>
                </a:lnTo>
                <a:lnTo>
                  <a:pt x="836" y="139"/>
                </a:lnTo>
                <a:lnTo>
                  <a:pt x="800" y="139"/>
                </a:lnTo>
                <a:lnTo>
                  <a:pt x="800" y="127"/>
                </a:lnTo>
                <a:lnTo>
                  <a:pt x="830" y="127"/>
                </a:lnTo>
                <a:lnTo>
                  <a:pt x="830" y="111"/>
                </a:lnTo>
                <a:lnTo>
                  <a:pt x="800" y="111"/>
                </a:lnTo>
                <a:lnTo>
                  <a:pt x="800" y="99"/>
                </a:lnTo>
                <a:lnTo>
                  <a:pt x="835" y="99"/>
                </a:lnTo>
                <a:lnTo>
                  <a:pt x="835" y="82"/>
                </a:lnTo>
                <a:lnTo>
                  <a:pt x="782" y="82"/>
                </a:lnTo>
                <a:lnTo>
                  <a:pt x="782" y="156"/>
                </a:lnTo>
                <a:close/>
                <a:moveTo>
                  <a:pt x="696" y="120"/>
                </a:moveTo>
                <a:lnTo>
                  <a:pt x="696" y="120"/>
                </a:lnTo>
                <a:lnTo>
                  <a:pt x="697" y="111"/>
                </a:lnTo>
                <a:lnTo>
                  <a:pt x="699" y="104"/>
                </a:lnTo>
                <a:lnTo>
                  <a:pt x="702" y="96"/>
                </a:lnTo>
                <a:lnTo>
                  <a:pt x="707" y="91"/>
                </a:lnTo>
                <a:lnTo>
                  <a:pt x="712" y="86"/>
                </a:lnTo>
                <a:lnTo>
                  <a:pt x="718" y="83"/>
                </a:lnTo>
                <a:lnTo>
                  <a:pt x="725" y="81"/>
                </a:lnTo>
                <a:lnTo>
                  <a:pt x="733" y="80"/>
                </a:lnTo>
                <a:lnTo>
                  <a:pt x="739" y="81"/>
                </a:lnTo>
                <a:lnTo>
                  <a:pt x="745" y="82"/>
                </a:lnTo>
                <a:lnTo>
                  <a:pt x="750" y="84"/>
                </a:lnTo>
                <a:lnTo>
                  <a:pt x="754" y="86"/>
                </a:lnTo>
                <a:lnTo>
                  <a:pt x="758" y="90"/>
                </a:lnTo>
                <a:lnTo>
                  <a:pt x="761" y="94"/>
                </a:lnTo>
                <a:lnTo>
                  <a:pt x="765" y="100"/>
                </a:lnTo>
                <a:lnTo>
                  <a:pt x="766" y="106"/>
                </a:lnTo>
                <a:lnTo>
                  <a:pt x="746" y="106"/>
                </a:lnTo>
                <a:lnTo>
                  <a:pt x="744" y="101"/>
                </a:lnTo>
                <a:lnTo>
                  <a:pt x="741" y="99"/>
                </a:lnTo>
                <a:lnTo>
                  <a:pt x="737" y="96"/>
                </a:lnTo>
                <a:lnTo>
                  <a:pt x="733" y="96"/>
                </a:lnTo>
                <a:lnTo>
                  <a:pt x="730" y="96"/>
                </a:lnTo>
                <a:lnTo>
                  <a:pt x="726" y="99"/>
                </a:lnTo>
                <a:lnTo>
                  <a:pt x="724" y="101"/>
                </a:lnTo>
                <a:lnTo>
                  <a:pt x="720" y="103"/>
                </a:lnTo>
                <a:lnTo>
                  <a:pt x="719" y="106"/>
                </a:lnTo>
                <a:lnTo>
                  <a:pt x="717" y="110"/>
                </a:lnTo>
                <a:lnTo>
                  <a:pt x="716" y="120"/>
                </a:lnTo>
                <a:lnTo>
                  <a:pt x="717" y="129"/>
                </a:lnTo>
                <a:lnTo>
                  <a:pt x="719" y="132"/>
                </a:lnTo>
                <a:lnTo>
                  <a:pt x="721" y="136"/>
                </a:lnTo>
                <a:lnTo>
                  <a:pt x="724" y="138"/>
                </a:lnTo>
                <a:lnTo>
                  <a:pt x="727" y="140"/>
                </a:lnTo>
                <a:lnTo>
                  <a:pt x="730" y="143"/>
                </a:lnTo>
                <a:lnTo>
                  <a:pt x="734" y="143"/>
                </a:lnTo>
                <a:lnTo>
                  <a:pt x="741" y="142"/>
                </a:lnTo>
                <a:lnTo>
                  <a:pt x="747" y="139"/>
                </a:lnTo>
                <a:lnTo>
                  <a:pt x="747" y="129"/>
                </a:lnTo>
                <a:lnTo>
                  <a:pt x="734" y="129"/>
                </a:lnTo>
                <a:lnTo>
                  <a:pt x="734" y="115"/>
                </a:lnTo>
                <a:lnTo>
                  <a:pt x="766" y="115"/>
                </a:lnTo>
                <a:lnTo>
                  <a:pt x="766" y="148"/>
                </a:lnTo>
                <a:lnTo>
                  <a:pt x="758" y="153"/>
                </a:lnTo>
                <a:lnTo>
                  <a:pt x="751" y="156"/>
                </a:lnTo>
                <a:lnTo>
                  <a:pt x="742" y="158"/>
                </a:lnTo>
                <a:lnTo>
                  <a:pt x="736" y="159"/>
                </a:lnTo>
                <a:lnTo>
                  <a:pt x="727" y="158"/>
                </a:lnTo>
                <a:lnTo>
                  <a:pt x="719" y="156"/>
                </a:lnTo>
                <a:lnTo>
                  <a:pt x="712" y="153"/>
                </a:lnTo>
                <a:lnTo>
                  <a:pt x="707" y="149"/>
                </a:lnTo>
                <a:lnTo>
                  <a:pt x="702" y="143"/>
                </a:lnTo>
                <a:lnTo>
                  <a:pt x="699" y="136"/>
                </a:lnTo>
                <a:lnTo>
                  <a:pt x="697" y="128"/>
                </a:lnTo>
                <a:lnTo>
                  <a:pt x="696" y="120"/>
                </a:lnTo>
                <a:close/>
                <a:moveTo>
                  <a:pt x="644" y="130"/>
                </a:moveTo>
                <a:lnTo>
                  <a:pt x="654" y="102"/>
                </a:lnTo>
                <a:lnTo>
                  <a:pt x="663" y="130"/>
                </a:lnTo>
                <a:lnTo>
                  <a:pt x="644" y="130"/>
                </a:lnTo>
                <a:close/>
                <a:moveTo>
                  <a:pt x="615" y="156"/>
                </a:moveTo>
                <a:lnTo>
                  <a:pt x="636" y="156"/>
                </a:lnTo>
                <a:lnTo>
                  <a:pt x="639" y="145"/>
                </a:lnTo>
                <a:lnTo>
                  <a:pt x="669" y="145"/>
                </a:lnTo>
                <a:lnTo>
                  <a:pt x="673" y="156"/>
                </a:lnTo>
                <a:lnTo>
                  <a:pt x="693" y="156"/>
                </a:lnTo>
                <a:lnTo>
                  <a:pt x="664" y="82"/>
                </a:lnTo>
                <a:lnTo>
                  <a:pt x="643" y="82"/>
                </a:lnTo>
                <a:lnTo>
                  <a:pt x="615" y="156"/>
                </a:lnTo>
                <a:close/>
                <a:moveTo>
                  <a:pt x="541" y="156"/>
                </a:moveTo>
                <a:lnTo>
                  <a:pt x="559" y="156"/>
                </a:lnTo>
                <a:lnTo>
                  <a:pt x="559" y="112"/>
                </a:lnTo>
                <a:lnTo>
                  <a:pt x="585" y="156"/>
                </a:lnTo>
                <a:lnTo>
                  <a:pt x="606" y="156"/>
                </a:lnTo>
                <a:lnTo>
                  <a:pt x="606" y="82"/>
                </a:lnTo>
                <a:lnTo>
                  <a:pt x="587" y="82"/>
                </a:lnTo>
                <a:lnTo>
                  <a:pt x="587" y="126"/>
                </a:lnTo>
                <a:lnTo>
                  <a:pt x="561" y="82"/>
                </a:lnTo>
                <a:lnTo>
                  <a:pt x="541" y="82"/>
                </a:lnTo>
                <a:lnTo>
                  <a:pt x="541" y="156"/>
                </a:lnTo>
                <a:close/>
                <a:moveTo>
                  <a:pt x="457" y="127"/>
                </a:moveTo>
                <a:lnTo>
                  <a:pt x="457" y="117"/>
                </a:lnTo>
                <a:lnTo>
                  <a:pt x="486" y="117"/>
                </a:lnTo>
                <a:lnTo>
                  <a:pt x="486" y="87"/>
                </a:lnTo>
                <a:lnTo>
                  <a:pt x="498" y="87"/>
                </a:lnTo>
                <a:lnTo>
                  <a:pt x="498" y="117"/>
                </a:lnTo>
                <a:lnTo>
                  <a:pt x="527" y="117"/>
                </a:lnTo>
                <a:lnTo>
                  <a:pt x="527" y="127"/>
                </a:lnTo>
                <a:lnTo>
                  <a:pt x="498" y="127"/>
                </a:lnTo>
                <a:lnTo>
                  <a:pt x="498" y="156"/>
                </a:lnTo>
                <a:lnTo>
                  <a:pt x="486" y="156"/>
                </a:lnTo>
                <a:lnTo>
                  <a:pt x="486" y="127"/>
                </a:lnTo>
                <a:lnTo>
                  <a:pt x="457" y="127"/>
                </a:lnTo>
                <a:close/>
                <a:moveTo>
                  <a:pt x="392" y="156"/>
                </a:moveTo>
                <a:lnTo>
                  <a:pt x="448" y="156"/>
                </a:lnTo>
                <a:lnTo>
                  <a:pt x="448" y="139"/>
                </a:lnTo>
                <a:lnTo>
                  <a:pt x="411" y="139"/>
                </a:lnTo>
                <a:lnTo>
                  <a:pt x="411" y="127"/>
                </a:lnTo>
                <a:lnTo>
                  <a:pt x="442" y="127"/>
                </a:lnTo>
                <a:lnTo>
                  <a:pt x="442" y="111"/>
                </a:lnTo>
                <a:lnTo>
                  <a:pt x="411" y="111"/>
                </a:lnTo>
                <a:lnTo>
                  <a:pt x="411" y="99"/>
                </a:lnTo>
                <a:lnTo>
                  <a:pt x="446" y="99"/>
                </a:lnTo>
                <a:lnTo>
                  <a:pt x="446" y="82"/>
                </a:lnTo>
                <a:lnTo>
                  <a:pt x="392" y="82"/>
                </a:lnTo>
                <a:lnTo>
                  <a:pt x="392" y="156"/>
                </a:lnTo>
                <a:close/>
                <a:moveTo>
                  <a:pt x="309" y="156"/>
                </a:moveTo>
                <a:lnTo>
                  <a:pt x="328" y="156"/>
                </a:lnTo>
                <a:lnTo>
                  <a:pt x="328" y="112"/>
                </a:lnTo>
                <a:lnTo>
                  <a:pt x="354" y="156"/>
                </a:lnTo>
                <a:lnTo>
                  <a:pt x="374" y="156"/>
                </a:lnTo>
                <a:lnTo>
                  <a:pt x="374" y="82"/>
                </a:lnTo>
                <a:lnTo>
                  <a:pt x="356" y="82"/>
                </a:lnTo>
                <a:lnTo>
                  <a:pt x="356" y="126"/>
                </a:lnTo>
                <a:lnTo>
                  <a:pt x="329" y="82"/>
                </a:lnTo>
                <a:lnTo>
                  <a:pt x="309" y="82"/>
                </a:lnTo>
                <a:lnTo>
                  <a:pt x="309" y="156"/>
                </a:lnTo>
                <a:close/>
                <a:moveTo>
                  <a:pt x="226" y="156"/>
                </a:moveTo>
                <a:lnTo>
                  <a:pt x="246" y="156"/>
                </a:lnTo>
                <a:lnTo>
                  <a:pt x="246" y="128"/>
                </a:lnTo>
                <a:lnTo>
                  <a:pt x="272" y="128"/>
                </a:lnTo>
                <a:lnTo>
                  <a:pt x="272" y="156"/>
                </a:lnTo>
                <a:lnTo>
                  <a:pt x="292" y="156"/>
                </a:lnTo>
                <a:lnTo>
                  <a:pt x="292" y="82"/>
                </a:lnTo>
                <a:lnTo>
                  <a:pt x="272" y="82"/>
                </a:lnTo>
                <a:lnTo>
                  <a:pt x="272" y="110"/>
                </a:lnTo>
                <a:lnTo>
                  <a:pt x="246" y="110"/>
                </a:lnTo>
                <a:lnTo>
                  <a:pt x="246" y="82"/>
                </a:lnTo>
                <a:lnTo>
                  <a:pt x="226" y="82"/>
                </a:lnTo>
                <a:lnTo>
                  <a:pt x="226" y="156"/>
                </a:lnTo>
                <a:close/>
                <a:moveTo>
                  <a:pt x="155" y="156"/>
                </a:moveTo>
                <a:lnTo>
                  <a:pt x="211" y="156"/>
                </a:lnTo>
                <a:lnTo>
                  <a:pt x="211" y="139"/>
                </a:lnTo>
                <a:lnTo>
                  <a:pt x="174" y="139"/>
                </a:lnTo>
                <a:lnTo>
                  <a:pt x="174" y="127"/>
                </a:lnTo>
                <a:lnTo>
                  <a:pt x="205" y="127"/>
                </a:lnTo>
                <a:lnTo>
                  <a:pt x="205" y="111"/>
                </a:lnTo>
                <a:lnTo>
                  <a:pt x="174" y="111"/>
                </a:lnTo>
                <a:lnTo>
                  <a:pt x="174" y="99"/>
                </a:lnTo>
                <a:lnTo>
                  <a:pt x="209" y="99"/>
                </a:lnTo>
                <a:lnTo>
                  <a:pt x="209" y="82"/>
                </a:lnTo>
                <a:lnTo>
                  <a:pt x="155" y="82"/>
                </a:lnTo>
                <a:lnTo>
                  <a:pt x="155" y="156"/>
                </a:lnTo>
                <a:close/>
                <a:moveTo>
                  <a:pt x="74" y="126"/>
                </a:moveTo>
                <a:lnTo>
                  <a:pt x="74" y="126"/>
                </a:lnTo>
                <a:lnTo>
                  <a:pt x="74" y="134"/>
                </a:lnTo>
                <a:lnTo>
                  <a:pt x="76" y="142"/>
                </a:lnTo>
                <a:lnTo>
                  <a:pt x="79" y="147"/>
                </a:lnTo>
                <a:lnTo>
                  <a:pt x="83" y="151"/>
                </a:lnTo>
                <a:lnTo>
                  <a:pt x="89" y="155"/>
                </a:lnTo>
                <a:lnTo>
                  <a:pt x="94" y="157"/>
                </a:lnTo>
                <a:lnTo>
                  <a:pt x="99" y="158"/>
                </a:lnTo>
                <a:lnTo>
                  <a:pt x="107" y="159"/>
                </a:lnTo>
                <a:lnTo>
                  <a:pt x="113" y="158"/>
                </a:lnTo>
                <a:lnTo>
                  <a:pt x="118" y="157"/>
                </a:lnTo>
                <a:lnTo>
                  <a:pt x="124" y="155"/>
                </a:lnTo>
                <a:lnTo>
                  <a:pt x="129" y="151"/>
                </a:lnTo>
                <a:lnTo>
                  <a:pt x="133" y="147"/>
                </a:lnTo>
                <a:lnTo>
                  <a:pt x="136" y="142"/>
                </a:lnTo>
                <a:lnTo>
                  <a:pt x="138" y="134"/>
                </a:lnTo>
                <a:lnTo>
                  <a:pt x="138" y="126"/>
                </a:lnTo>
                <a:lnTo>
                  <a:pt x="138" y="82"/>
                </a:lnTo>
                <a:lnTo>
                  <a:pt x="118" y="82"/>
                </a:lnTo>
                <a:lnTo>
                  <a:pt x="118" y="129"/>
                </a:lnTo>
                <a:lnTo>
                  <a:pt x="117" y="134"/>
                </a:lnTo>
                <a:lnTo>
                  <a:pt x="115" y="138"/>
                </a:lnTo>
                <a:lnTo>
                  <a:pt x="112" y="142"/>
                </a:lnTo>
                <a:lnTo>
                  <a:pt x="107" y="142"/>
                </a:lnTo>
                <a:lnTo>
                  <a:pt x="100" y="142"/>
                </a:lnTo>
                <a:lnTo>
                  <a:pt x="97" y="138"/>
                </a:lnTo>
                <a:lnTo>
                  <a:pt x="94" y="134"/>
                </a:lnTo>
                <a:lnTo>
                  <a:pt x="94" y="129"/>
                </a:lnTo>
                <a:lnTo>
                  <a:pt x="94" y="82"/>
                </a:lnTo>
                <a:lnTo>
                  <a:pt x="74" y="82"/>
                </a:lnTo>
                <a:lnTo>
                  <a:pt x="74" y="126"/>
                </a:lnTo>
                <a:close/>
                <a:moveTo>
                  <a:pt x="0" y="156"/>
                </a:moveTo>
                <a:lnTo>
                  <a:pt x="20" y="156"/>
                </a:lnTo>
                <a:lnTo>
                  <a:pt x="20" y="135"/>
                </a:lnTo>
                <a:lnTo>
                  <a:pt x="26" y="127"/>
                </a:lnTo>
                <a:lnTo>
                  <a:pt x="43" y="156"/>
                </a:lnTo>
                <a:lnTo>
                  <a:pt x="66" y="156"/>
                </a:lnTo>
                <a:lnTo>
                  <a:pt x="40" y="112"/>
                </a:lnTo>
                <a:lnTo>
                  <a:pt x="63" y="82"/>
                </a:lnTo>
                <a:lnTo>
                  <a:pt x="40" y="82"/>
                </a:lnTo>
                <a:lnTo>
                  <a:pt x="20" y="109"/>
                </a:lnTo>
                <a:lnTo>
                  <a:pt x="20" y="82"/>
                </a:lnTo>
                <a:lnTo>
                  <a:pt x="0" y="82"/>
                </a:lnTo>
                <a:lnTo>
                  <a:pt x="0" y="1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Text Placeholder 2"/>
          <p:cNvSpPr>
            <a:spLocks noGrp="1"/>
          </p:cNvSpPr>
          <p:nvPr>
            <p:ph type="body" sz="quarter" idx="13"/>
          </p:nvPr>
        </p:nvSpPr>
        <p:spPr>
          <a:xfrm>
            <a:off x="550865" y="2348726"/>
            <a:ext cx="8316910" cy="3960000"/>
          </a:xfrm>
        </p:spPr>
        <p:txBody>
          <a:bodyPr>
            <a:noAutofit/>
          </a:bodyPr>
          <a:lstStyle>
            <a:lvl1pPr>
              <a:spcAft>
                <a:spcPts val="1200"/>
              </a:spcAft>
              <a:defRPr sz="6000" b="1">
                <a:solidFill>
                  <a:schemeClr val="bg1"/>
                </a:solidFill>
              </a:defRPr>
            </a:lvl1pPr>
          </a:lstStyle>
          <a:p>
            <a:pPr lvl="0"/>
            <a:r>
              <a:rPr lang="en-US"/>
              <a:t>Click to edit Master text styles</a:t>
            </a:r>
          </a:p>
        </p:txBody>
      </p:sp>
      <p:sp>
        <p:nvSpPr>
          <p:cNvPr id="4" name="Slide Number Placeholder 3">
            <a:extLst>
              <a:ext uri="{FF2B5EF4-FFF2-40B4-BE49-F238E27FC236}">
                <a16:creationId xmlns:a16="http://schemas.microsoft.com/office/drawing/2014/main" id="{DDC897E4-3B6C-8E2A-D130-6E184025BA2D}"/>
              </a:ext>
            </a:extLst>
          </p:cNvPr>
          <p:cNvSpPr>
            <a:spLocks noGrp="1"/>
          </p:cNvSpPr>
          <p:nvPr>
            <p:ph type="sldNum" sz="quarter" idx="14"/>
          </p:nvPr>
        </p:nvSpPr>
        <p:spPr/>
        <p:txBody>
          <a:bodyPr/>
          <a:lstStyle>
            <a:lvl1pPr algn="r">
              <a:defRPr sz="1000">
                <a:solidFill>
                  <a:schemeClr val="bg1"/>
                </a:solidFill>
              </a:defRPr>
            </a:lvl1pPr>
          </a:lstStyle>
          <a:p>
            <a:pPr>
              <a:defRPr/>
            </a:pPr>
            <a:fld id="{6F19EDDD-2CC8-4141-85AD-F91FD71C7DD1}" type="slidenum">
              <a:rPr lang="en-GB"/>
              <a:pPr>
                <a:defRPr/>
              </a:pPr>
              <a:t>‹#›</a:t>
            </a:fld>
            <a:endParaRPr lang="en-GB" dirty="0"/>
          </a:p>
        </p:txBody>
      </p:sp>
    </p:spTree>
    <p:extLst>
      <p:ext uri="{BB962C8B-B14F-4D97-AF65-F5344CB8AC3E}">
        <p14:creationId xmlns:p14="http://schemas.microsoft.com/office/powerpoint/2010/main" val="937522422"/>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rrow_text_message_white">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E6BF1FDD-4930-3DD7-9118-9FED0C4FE62F}"/>
              </a:ext>
            </a:extLst>
          </p:cNvPr>
          <p:cNvSpPr>
            <a:spLocks/>
          </p:cNvSpPr>
          <p:nvPr/>
        </p:nvSpPr>
        <p:spPr bwMode="auto">
          <a:xfrm>
            <a:off x="784225" y="1776413"/>
            <a:ext cx="1958975" cy="1639887"/>
          </a:xfrm>
          <a:custGeom>
            <a:avLst/>
            <a:gdLst>
              <a:gd name="T0" fmla="*/ 1958975 w 1234"/>
              <a:gd name="T1" fmla="*/ 820737 h 1033"/>
              <a:gd name="T2" fmla="*/ 1138238 w 1234"/>
              <a:gd name="T3" fmla="*/ 0 h 1033"/>
              <a:gd name="T4" fmla="*/ 973138 w 1234"/>
              <a:gd name="T5" fmla="*/ 165100 h 1033"/>
              <a:gd name="T6" fmla="*/ 1503363 w 1234"/>
              <a:gd name="T7" fmla="*/ 693737 h 1033"/>
              <a:gd name="T8" fmla="*/ 0 w 1234"/>
              <a:gd name="T9" fmla="*/ 693737 h 1033"/>
              <a:gd name="T10" fmla="*/ 0 w 1234"/>
              <a:gd name="T11" fmla="*/ 927100 h 1033"/>
              <a:gd name="T12" fmla="*/ 1522413 w 1234"/>
              <a:gd name="T13" fmla="*/ 927100 h 1033"/>
              <a:gd name="T14" fmla="*/ 973138 w 1234"/>
              <a:gd name="T15" fmla="*/ 1474787 h 1033"/>
              <a:gd name="T16" fmla="*/ 1138238 w 1234"/>
              <a:gd name="T17" fmla="*/ 1639887 h 1033"/>
              <a:gd name="T18" fmla="*/ 1958975 w 1234"/>
              <a:gd name="T19" fmla="*/ 820737 h 1033"/>
              <a:gd name="T20" fmla="*/ 1958975 w 1234"/>
              <a:gd name="T21" fmla="*/ 820737 h 1033"/>
              <a:gd name="T22" fmla="*/ 1958975 w 1234"/>
              <a:gd name="T23" fmla="*/ 820737 h 10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34" h="1033">
                <a:moveTo>
                  <a:pt x="1234" y="517"/>
                </a:moveTo>
                <a:lnTo>
                  <a:pt x="717" y="0"/>
                </a:lnTo>
                <a:lnTo>
                  <a:pt x="613" y="104"/>
                </a:lnTo>
                <a:lnTo>
                  <a:pt x="947" y="437"/>
                </a:lnTo>
                <a:lnTo>
                  <a:pt x="0" y="437"/>
                </a:lnTo>
                <a:lnTo>
                  <a:pt x="0" y="584"/>
                </a:lnTo>
                <a:lnTo>
                  <a:pt x="959" y="584"/>
                </a:lnTo>
                <a:lnTo>
                  <a:pt x="613" y="929"/>
                </a:lnTo>
                <a:lnTo>
                  <a:pt x="717" y="1033"/>
                </a:lnTo>
                <a:lnTo>
                  <a:pt x="1234" y="517"/>
                </a:lnTo>
                <a:close/>
              </a:path>
            </a:pathLst>
          </a:custGeom>
          <a:solidFill>
            <a:srgbClr val="0033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 name="Text Placeholder 6"/>
          <p:cNvSpPr>
            <a:spLocks noGrp="1"/>
          </p:cNvSpPr>
          <p:nvPr>
            <p:ph type="body" sz="quarter" idx="17"/>
          </p:nvPr>
        </p:nvSpPr>
        <p:spPr>
          <a:xfrm>
            <a:off x="3323775" y="2350313"/>
            <a:ext cx="6930000" cy="3240000"/>
          </a:xfrm>
        </p:spPr>
        <p:txBody>
          <a:bodyPr>
            <a:noAutofit/>
          </a:bodyPr>
          <a:lstStyle>
            <a:lvl1pPr>
              <a:spcAft>
                <a:spcPts val="1200"/>
              </a:spcAft>
              <a:defRPr sz="3600" b="1">
                <a:solidFill>
                  <a:schemeClr val="tx2"/>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3" name="Slide Number Placeholder 3">
            <a:extLst>
              <a:ext uri="{FF2B5EF4-FFF2-40B4-BE49-F238E27FC236}">
                <a16:creationId xmlns:a16="http://schemas.microsoft.com/office/drawing/2014/main" id="{F34D8986-4995-3E97-AD36-7609A531E36A}"/>
              </a:ext>
            </a:extLst>
          </p:cNvPr>
          <p:cNvSpPr>
            <a:spLocks noGrp="1"/>
          </p:cNvSpPr>
          <p:nvPr>
            <p:ph type="sldNum" sz="quarter" idx="18"/>
          </p:nvPr>
        </p:nvSpPr>
        <p:spPr/>
        <p:txBody>
          <a:bodyPr/>
          <a:lstStyle>
            <a:lvl1pPr algn="r">
              <a:defRPr sz="1000">
                <a:solidFill>
                  <a:srgbClr val="000000"/>
                </a:solidFill>
              </a:defRPr>
            </a:lvl1pPr>
          </a:lstStyle>
          <a:p>
            <a:pPr>
              <a:defRPr/>
            </a:pPr>
            <a:fld id="{AF909DE9-30B0-4EB8-86E7-5E6CDE02BB3E}" type="slidenum">
              <a:rPr lang="en-GB"/>
              <a:pPr>
                <a:defRPr/>
              </a:pPr>
              <a:t>‹#›</a:t>
            </a:fld>
            <a:endParaRPr lang="en-GB" dirty="0"/>
          </a:p>
        </p:txBody>
      </p:sp>
    </p:spTree>
    <p:extLst>
      <p:ext uri="{BB962C8B-B14F-4D97-AF65-F5344CB8AC3E}">
        <p14:creationId xmlns:p14="http://schemas.microsoft.com/office/powerpoint/2010/main" val="4219165263"/>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rrow_text_message_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D4AD65-F87F-640D-8B89-DD669AFD695F}"/>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5">
            <a:extLst>
              <a:ext uri="{FF2B5EF4-FFF2-40B4-BE49-F238E27FC236}">
                <a16:creationId xmlns:a16="http://schemas.microsoft.com/office/drawing/2014/main" id="{0A0DC8F0-1B9B-22C3-C28C-8E1606738832}"/>
              </a:ext>
            </a:extLst>
          </p:cNvPr>
          <p:cNvSpPr>
            <a:spLocks noEditPoints="1"/>
          </p:cNvSpPr>
          <p:nvPr/>
        </p:nvSpPr>
        <p:spPr bwMode="auto">
          <a:xfrm>
            <a:off x="9721850" y="558800"/>
            <a:ext cx="1908175" cy="379413"/>
          </a:xfrm>
          <a:custGeom>
            <a:avLst/>
            <a:gdLst>
              <a:gd name="T0" fmla="*/ 1714967 w 1196"/>
              <a:gd name="T1" fmla="*/ 111125 h 239"/>
              <a:gd name="T2" fmla="*/ 1729324 w 1196"/>
              <a:gd name="T3" fmla="*/ 142875 h 239"/>
              <a:gd name="T4" fmla="*/ 1695823 w 1196"/>
              <a:gd name="T5" fmla="*/ 130175 h 239"/>
              <a:gd name="T6" fmla="*/ 1649559 w 1196"/>
              <a:gd name="T7" fmla="*/ 368300 h 239"/>
              <a:gd name="T8" fmla="*/ 1750064 w 1196"/>
              <a:gd name="T9" fmla="*/ 376238 h 239"/>
              <a:gd name="T10" fmla="*/ 1813876 w 1196"/>
              <a:gd name="T11" fmla="*/ 309563 h 239"/>
              <a:gd name="T12" fmla="*/ 1764421 w 1196"/>
              <a:gd name="T13" fmla="*/ 212725 h 239"/>
              <a:gd name="T14" fmla="*/ 1756445 w 1196"/>
              <a:gd name="T15" fmla="*/ 142875 h 239"/>
              <a:gd name="T16" fmla="*/ 1746873 w 1196"/>
              <a:gd name="T17" fmla="*/ 100013 h 239"/>
              <a:gd name="T18" fmla="*/ 1697418 w 1196"/>
              <a:gd name="T19" fmla="*/ 92075 h 239"/>
              <a:gd name="T20" fmla="*/ 1670298 w 1196"/>
              <a:gd name="T21" fmla="*/ 130175 h 239"/>
              <a:gd name="T22" fmla="*/ 1665512 w 1196"/>
              <a:gd name="T23" fmla="*/ 187325 h 239"/>
              <a:gd name="T24" fmla="*/ 1633605 w 1196"/>
              <a:gd name="T25" fmla="*/ 322263 h 239"/>
              <a:gd name="T26" fmla="*/ 1531505 w 1196"/>
              <a:gd name="T27" fmla="*/ 133350 h 239"/>
              <a:gd name="T28" fmla="*/ 1608080 w 1196"/>
              <a:gd name="T29" fmla="*/ 33338 h 239"/>
              <a:gd name="T30" fmla="*/ 1716562 w 1196"/>
              <a:gd name="T31" fmla="*/ 0 h 239"/>
              <a:gd name="T32" fmla="*/ 1837806 w 1196"/>
              <a:gd name="T33" fmla="*/ 42863 h 239"/>
              <a:gd name="T34" fmla="*/ 1904809 w 1196"/>
              <a:gd name="T35" fmla="*/ 149225 h 239"/>
              <a:gd name="T36" fmla="*/ 1895237 w 1196"/>
              <a:gd name="T37" fmla="*/ 254000 h 239"/>
              <a:gd name="T38" fmla="*/ 1844187 w 1196"/>
              <a:gd name="T39" fmla="*/ 276225 h 239"/>
              <a:gd name="T40" fmla="*/ 1872903 w 1196"/>
              <a:gd name="T41" fmla="*/ 187325 h 239"/>
              <a:gd name="T42" fmla="*/ 1845783 w 1196"/>
              <a:gd name="T43" fmla="*/ 101600 h 239"/>
              <a:gd name="T44" fmla="*/ 1761231 w 1196"/>
              <a:gd name="T45" fmla="*/ 39688 h 239"/>
              <a:gd name="T46" fmla="*/ 1668702 w 1196"/>
              <a:gd name="T47" fmla="*/ 39688 h 239"/>
              <a:gd name="T48" fmla="*/ 1587341 w 1196"/>
              <a:gd name="T49" fmla="*/ 101600 h 239"/>
              <a:gd name="T50" fmla="*/ 1560221 w 1196"/>
              <a:gd name="T51" fmla="*/ 187325 h 239"/>
              <a:gd name="T52" fmla="*/ 1587341 w 1196"/>
              <a:gd name="T53" fmla="*/ 276225 h 239"/>
              <a:gd name="T54" fmla="*/ 1536291 w 1196"/>
              <a:gd name="T55" fmla="*/ 254000 h 239"/>
              <a:gd name="T56" fmla="*/ 1357615 w 1196"/>
              <a:gd name="T57" fmla="*/ 130175 h 239"/>
              <a:gd name="T58" fmla="*/ 1333686 w 1196"/>
              <a:gd name="T59" fmla="*/ 247650 h 239"/>
              <a:gd name="T60" fmla="*/ 1276254 w 1196"/>
              <a:gd name="T61" fmla="*/ 157163 h 239"/>
              <a:gd name="T62" fmla="*/ 1111936 w 1196"/>
              <a:gd name="T63" fmla="*/ 176213 h 239"/>
              <a:gd name="T64" fmla="*/ 1169368 w 1196"/>
              <a:gd name="T65" fmla="*/ 127000 h 239"/>
              <a:gd name="T66" fmla="*/ 1214037 w 1196"/>
              <a:gd name="T67" fmla="*/ 149225 h 239"/>
              <a:gd name="T68" fmla="*/ 1175749 w 1196"/>
              <a:gd name="T69" fmla="*/ 152400 h 239"/>
              <a:gd name="T70" fmla="*/ 1147033 w 1196"/>
              <a:gd name="T71" fmla="*/ 168275 h 239"/>
              <a:gd name="T72" fmla="*/ 1155010 w 1196"/>
              <a:gd name="T73" fmla="*/ 219075 h 239"/>
              <a:gd name="T74" fmla="*/ 1191702 w 1196"/>
              <a:gd name="T75" fmla="*/ 204788 h 239"/>
              <a:gd name="T76" fmla="*/ 1198084 w 1196"/>
              <a:gd name="T77" fmla="*/ 247650 h 239"/>
              <a:gd name="T78" fmla="*/ 1127890 w 1196"/>
              <a:gd name="T79" fmla="*/ 236538 h 239"/>
              <a:gd name="T80" fmla="*/ 1043338 w 1196"/>
              <a:gd name="T81" fmla="*/ 161925 h 239"/>
              <a:gd name="T82" fmla="*/ 1073649 w 1196"/>
              <a:gd name="T83" fmla="*/ 247650 h 239"/>
              <a:gd name="T84" fmla="*/ 891783 w 1196"/>
              <a:gd name="T85" fmla="*/ 177800 h 239"/>
              <a:gd name="T86" fmla="*/ 863067 w 1196"/>
              <a:gd name="T87" fmla="*/ 130175 h 239"/>
              <a:gd name="T88" fmla="*/ 794468 w 1196"/>
              <a:gd name="T89" fmla="*/ 185738 h 239"/>
              <a:gd name="T90" fmla="*/ 729060 w 1196"/>
              <a:gd name="T91" fmla="*/ 201613 h 239"/>
              <a:gd name="T92" fmla="*/ 705130 w 1196"/>
              <a:gd name="T93" fmla="*/ 176213 h 239"/>
              <a:gd name="T94" fmla="*/ 492953 w 1196"/>
              <a:gd name="T95" fmla="*/ 247650 h 239"/>
              <a:gd name="T96" fmla="*/ 567933 w 1196"/>
              <a:gd name="T97" fmla="*/ 200025 h 239"/>
              <a:gd name="T98" fmla="*/ 433926 w 1196"/>
              <a:gd name="T99" fmla="*/ 203200 h 239"/>
              <a:gd name="T100" fmla="*/ 392448 w 1196"/>
              <a:gd name="T101" fmla="*/ 130175 h 239"/>
              <a:gd name="T102" fmla="*/ 277585 w 1196"/>
              <a:gd name="T103" fmla="*/ 201613 h 239"/>
              <a:gd name="T104" fmla="*/ 247274 w 1196"/>
              <a:gd name="T105" fmla="*/ 130175 h 239"/>
              <a:gd name="T106" fmla="*/ 132411 w 1196"/>
              <a:gd name="T107" fmla="*/ 239713 h 239"/>
              <a:gd name="T108" fmla="*/ 188247 w 1196"/>
              <a:gd name="T109" fmla="*/ 249238 h 239"/>
              <a:gd name="T110" fmla="*/ 220154 w 1196"/>
              <a:gd name="T111" fmla="*/ 130175 h 239"/>
              <a:gd name="T112" fmla="*/ 170699 w 1196"/>
              <a:gd name="T113" fmla="*/ 225425 h 239"/>
              <a:gd name="T114" fmla="*/ 118054 w 1196"/>
              <a:gd name="T115" fmla="*/ 130175 h 239"/>
              <a:gd name="T116" fmla="*/ 105291 w 1196"/>
              <a:gd name="T117" fmla="*/ 247650 h 239"/>
              <a:gd name="T118" fmla="*/ 0 w 1196"/>
              <a:gd name="T119" fmla="*/ 247650 h 2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96" h="239">
                <a:moveTo>
                  <a:pt x="1063" y="82"/>
                </a:moveTo>
                <a:lnTo>
                  <a:pt x="1063" y="82"/>
                </a:lnTo>
                <a:lnTo>
                  <a:pt x="1064" y="78"/>
                </a:lnTo>
                <a:lnTo>
                  <a:pt x="1066" y="73"/>
                </a:lnTo>
                <a:lnTo>
                  <a:pt x="1070" y="71"/>
                </a:lnTo>
                <a:lnTo>
                  <a:pt x="1075" y="70"/>
                </a:lnTo>
                <a:lnTo>
                  <a:pt x="1080" y="71"/>
                </a:lnTo>
                <a:lnTo>
                  <a:pt x="1084" y="73"/>
                </a:lnTo>
                <a:lnTo>
                  <a:pt x="1086" y="78"/>
                </a:lnTo>
                <a:lnTo>
                  <a:pt x="1087" y="82"/>
                </a:lnTo>
                <a:lnTo>
                  <a:pt x="1086" y="87"/>
                </a:lnTo>
                <a:lnTo>
                  <a:pt x="1084" y="90"/>
                </a:lnTo>
                <a:lnTo>
                  <a:pt x="1080" y="93"/>
                </a:lnTo>
                <a:lnTo>
                  <a:pt x="1075" y="94"/>
                </a:lnTo>
                <a:lnTo>
                  <a:pt x="1070" y="93"/>
                </a:lnTo>
                <a:lnTo>
                  <a:pt x="1066" y="90"/>
                </a:lnTo>
                <a:lnTo>
                  <a:pt x="1064" y="87"/>
                </a:lnTo>
                <a:lnTo>
                  <a:pt x="1063" y="82"/>
                </a:lnTo>
                <a:close/>
                <a:moveTo>
                  <a:pt x="998" y="211"/>
                </a:moveTo>
                <a:lnTo>
                  <a:pt x="998" y="211"/>
                </a:lnTo>
                <a:lnTo>
                  <a:pt x="1006" y="217"/>
                </a:lnTo>
                <a:lnTo>
                  <a:pt x="1015" y="222"/>
                </a:lnTo>
                <a:lnTo>
                  <a:pt x="1024" y="227"/>
                </a:lnTo>
                <a:lnTo>
                  <a:pt x="1034" y="232"/>
                </a:lnTo>
                <a:lnTo>
                  <a:pt x="1044" y="235"/>
                </a:lnTo>
                <a:lnTo>
                  <a:pt x="1054" y="237"/>
                </a:lnTo>
                <a:lnTo>
                  <a:pt x="1064" y="238"/>
                </a:lnTo>
                <a:lnTo>
                  <a:pt x="1076" y="239"/>
                </a:lnTo>
                <a:lnTo>
                  <a:pt x="1086" y="238"/>
                </a:lnTo>
                <a:lnTo>
                  <a:pt x="1097" y="237"/>
                </a:lnTo>
                <a:lnTo>
                  <a:pt x="1106" y="235"/>
                </a:lnTo>
                <a:lnTo>
                  <a:pt x="1117" y="232"/>
                </a:lnTo>
                <a:lnTo>
                  <a:pt x="1126" y="227"/>
                </a:lnTo>
                <a:lnTo>
                  <a:pt x="1136" y="222"/>
                </a:lnTo>
                <a:lnTo>
                  <a:pt x="1144" y="217"/>
                </a:lnTo>
                <a:lnTo>
                  <a:pt x="1153" y="211"/>
                </a:lnTo>
                <a:lnTo>
                  <a:pt x="1137" y="195"/>
                </a:lnTo>
                <a:lnTo>
                  <a:pt x="1126" y="203"/>
                </a:lnTo>
                <a:lnTo>
                  <a:pt x="1114" y="211"/>
                </a:lnTo>
                <a:lnTo>
                  <a:pt x="1100" y="216"/>
                </a:lnTo>
                <a:lnTo>
                  <a:pt x="1086" y="218"/>
                </a:lnTo>
                <a:lnTo>
                  <a:pt x="1086" y="134"/>
                </a:lnTo>
                <a:lnTo>
                  <a:pt x="1106" y="134"/>
                </a:lnTo>
                <a:lnTo>
                  <a:pt x="1106" y="118"/>
                </a:lnTo>
                <a:lnTo>
                  <a:pt x="1086" y="118"/>
                </a:lnTo>
                <a:lnTo>
                  <a:pt x="1086" y="106"/>
                </a:lnTo>
                <a:lnTo>
                  <a:pt x="1093" y="103"/>
                </a:lnTo>
                <a:lnTo>
                  <a:pt x="1098" y="97"/>
                </a:lnTo>
                <a:lnTo>
                  <a:pt x="1101" y="90"/>
                </a:lnTo>
                <a:lnTo>
                  <a:pt x="1102" y="86"/>
                </a:lnTo>
                <a:lnTo>
                  <a:pt x="1103" y="82"/>
                </a:lnTo>
                <a:lnTo>
                  <a:pt x="1102" y="77"/>
                </a:lnTo>
                <a:lnTo>
                  <a:pt x="1101" y="71"/>
                </a:lnTo>
                <a:lnTo>
                  <a:pt x="1098" y="67"/>
                </a:lnTo>
                <a:lnTo>
                  <a:pt x="1095" y="63"/>
                </a:lnTo>
                <a:lnTo>
                  <a:pt x="1091" y="60"/>
                </a:lnTo>
                <a:lnTo>
                  <a:pt x="1086" y="58"/>
                </a:lnTo>
                <a:lnTo>
                  <a:pt x="1081" y="56"/>
                </a:lnTo>
                <a:lnTo>
                  <a:pt x="1076" y="56"/>
                </a:lnTo>
                <a:lnTo>
                  <a:pt x="1069" y="56"/>
                </a:lnTo>
                <a:lnTo>
                  <a:pt x="1064" y="58"/>
                </a:lnTo>
                <a:lnTo>
                  <a:pt x="1060" y="60"/>
                </a:lnTo>
                <a:lnTo>
                  <a:pt x="1056" y="63"/>
                </a:lnTo>
                <a:lnTo>
                  <a:pt x="1053" y="67"/>
                </a:lnTo>
                <a:lnTo>
                  <a:pt x="1049" y="71"/>
                </a:lnTo>
                <a:lnTo>
                  <a:pt x="1048" y="77"/>
                </a:lnTo>
                <a:lnTo>
                  <a:pt x="1047" y="82"/>
                </a:lnTo>
                <a:lnTo>
                  <a:pt x="1048" y="86"/>
                </a:lnTo>
                <a:lnTo>
                  <a:pt x="1049" y="90"/>
                </a:lnTo>
                <a:lnTo>
                  <a:pt x="1053" y="97"/>
                </a:lnTo>
                <a:lnTo>
                  <a:pt x="1058" y="103"/>
                </a:lnTo>
                <a:lnTo>
                  <a:pt x="1064" y="106"/>
                </a:lnTo>
                <a:lnTo>
                  <a:pt x="1064" y="118"/>
                </a:lnTo>
                <a:lnTo>
                  <a:pt x="1044" y="118"/>
                </a:lnTo>
                <a:lnTo>
                  <a:pt x="1044" y="134"/>
                </a:lnTo>
                <a:lnTo>
                  <a:pt x="1064" y="134"/>
                </a:lnTo>
                <a:lnTo>
                  <a:pt x="1064" y="218"/>
                </a:lnTo>
                <a:lnTo>
                  <a:pt x="1050" y="216"/>
                </a:lnTo>
                <a:lnTo>
                  <a:pt x="1037" y="211"/>
                </a:lnTo>
                <a:lnTo>
                  <a:pt x="1024" y="203"/>
                </a:lnTo>
                <a:lnTo>
                  <a:pt x="1014" y="195"/>
                </a:lnTo>
                <a:lnTo>
                  <a:pt x="998" y="211"/>
                </a:lnTo>
                <a:close/>
                <a:moveTo>
                  <a:pt x="954" y="118"/>
                </a:moveTo>
                <a:lnTo>
                  <a:pt x="954" y="118"/>
                </a:lnTo>
                <a:lnTo>
                  <a:pt x="956" y="107"/>
                </a:lnTo>
                <a:lnTo>
                  <a:pt x="958" y="94"/>
                </a:lnTo>
                <a:lnTo>
                  <a:pt x="960" y="84"/>
                </a:lnTo>
                <a:lnTo>
                  <a:pt x="964" y="72"/>
                </a:lnTo>
                <a:lnTo>
                  <a:pt x="969" y="62"/>
                </a:lnTo>
                <a:lnTo>
                  <a:pt x="976" y="52"/>
                </a:lnTo>
                <a:lnTo>
                  <a:pt x="982" y="43"/>
                </a:lnTo>
                <a:lnTo>
                  <a:pt x="990" y="35"/>
                </a:lnTo>
                <a:lnTo>
                  <a:pt x="999" y="27"/>
                </a:lnTo>
                <a:lnTo>
                  <a:pt x="1008" y="21"/>
                </a:lnTo>
                <a:lnTo>
                  <a:pt x="1018" y="15"/>
                </a:lnTo>
                <a:lnTo>
                  <a:pt x="1028" y="9"/>
                </a:lnTo>
                <a:lnTo>
                  <a:pt x="1040" y="5"/>
                </a:lnTo>
                <a:lnTo>
                  <a:pt x="1052" y="3"/>
                </a:lnTo>
                <a:lnTo>
                  <a:pt x="1063" y="1"/>
                </a:lnTo>
                <a:lnTo>
                  <a:pt x="1076" y="0"/>
                </a:lnTo>
                <a:lnTo>
                  <a:pt x="1087" y="1"/>
                </a:lnTo>
                <a:lnTo>
                  <a:pt x="1100" y="3"/>
                </a:lnTo>
                <a:lnTo>
                  <a:pt x="1111" y="5"/>
                </a:lnTo>
                <a:lnTo>
                  <a:pt x="1122" y="9"/>
                </a:lnTo>
                <a:lnTo>
                  <a:pt x="1133" y="15"/>
                </a:lnTo>
                <a:lnTo>
                  <a:pt x="1142" y="21"/>
                </a:lnTo>
                <a:lnTo>
                  <a:pt x="1152" y="27"/>
                </a:lnTo>
                <a:lnTo>
                  <a:pt x="1160" y="35"/>
                </a:lnTo>
                <a:lnTo>
                  <a:pt x="1169" y="43"/>
                </a:lnTo>
                <a:lnTo>
                  <a:pt x="1175" y="52"/>
                </a:lnTo>
                <a:lnTo>
                  <a:pt x="1181" y="62"/>
                </a:lnTo>
                <a:lnTo>
                  <a:pt x="1187" y="72"/>
                </a:lnTo>
                <a:lnTo>
                  <a:pt x="1191" y="84"/>
                </a:lnTo>
                <a:lnTo>
                  <a:pt x="1194" y="94"/>
                </a:lnTo>
                <a:lnTo>
                  <a:pt x="1195" y="107"/>
                </a:lnTo>
                <a:lnTo>
                  <a:pt x="1196" y="118"/>
                </a:lnTo>
                <a:lnTo>
                  <a:pt x="1195" y="130"/>
                </a:lnTo>
                <a:lnTo>
                  <a:pt x="1194" y="140"/>
                </a:lnTo>
                <a:lnTo>
                  <a:pt x="1192" y="151"/>
                </a:lnTo>
                <a:lnTo>
                  <a:pt x="1188" y="160"/>
                </a:lnTo>
                <a:lnTo>
                  <a:pt x="1184" y="171"/>
                </a:lnTo>
                <a:lnTo>
                  <a:pt x="1179" y="179"/>
                </a:lnTo>
                <a:lnTo>
                  <a:pt x="1173" y="189"/>
                </a:lnTo>
                <a:lnTo>
                  <a:pt x="1166" y="197"/>
                </a:lnTo>
                <a:lnTo>
                  <a:pt x="1151" y="181"/>
                </a:lnTo>
                <a:lnTo>
                  <a:pt x="1156" y="174"/>
                </a:lnTo>
                <a:lnTo>
                  <a:pt x="1160" y="167"/>
                </a:lnTo>
                <a:lnTo>
                  <a:pt x="1164" y="159"/>
                </a:lnTo>
                <a:lnTo>
                  <a:pt x="1168" y="152"/>
                </a:lnTo>
                <a:lnTo>
                  <a:pt x="1170" y="144"/>
                </a:lnTo>
                <a:lnTo>
                  <a:pt x="1172" y="135"/>
                </a:lnTo>
                <a:lnTo>
                  <a:pt x="1173" y="127"/>
                </a:lnTo>
                <a:lnTo>
                  <a:pt x="1174" y="118"/>
                </a:lnTo>
                <a:lnTo>
                  <a:pt x="1173" y="109"/>
                </a:lnTo>
                <a:lnTo>
                  <a:pt x="1172" y="100"/>
                </a:lnTo>
                <a:lnTo>
                  <a:pt x="1169" y="90"/>
                </a:lnTo>
                <a:lnTo>
                  <a:pt x="1165" y="81"/>
                </a:lnTo>
                <a:lnTo>
                  <a:pt x="1161" y="72"/>
                </a:lnTo>
                <a:lnTo>
                  <a:pt x="1157" y="64"/>
                </a:lnTo>
                <a:lnTo>
                  <a:pt x="1151" y="57"/>
                </a:lnTo>
                <a:lnTo>
                  <a:pt x="1144" y="49"/>
                </a:lnTo>
                <a:lnTo>
                  <a:pt x="1138" y="43"/>
                </a:lnTo>
                <a:lnTo>
                  <a:pt x="1130" y="38"/>
                </a:lnTo>
                <a:lnTo>
                  <a:pt x="1122" y="32"/>
                </a:lnTo>
                <a:lnTo>
                  <a:pt x="1114" y="28"/>
                </a:lnTo>
                <a:lnTo>
                  <a:pt x="1104" y="25"/>
                </a:lnTo>
                <a:lnTo>
                  <a:pt x="1095" y="23"/>
                </a:lnTo>
                <a:lnTo>
                  <a:pt x="1085" y="21"/>
                </a:lnTo>
                <a:lnTo>
                  <a:pt x="1076" y="21"/>
                </a:lnTo>
                <a:lnTo>
                  <a:pt x="1065" y="21"/>
                </a:lnTo>
                <a:lnTo>
                  <a:pt x="1056" y="23"/>
                </a:lnTo>
                <a:lnTo>
                  <a:pt x="1046" y="25"/>
                </a:lnTo>
                <a:lnTo>
                  <a:pt x="1037" y="28"/>
                </a:lnTo>
                <a:lnTo>
                  <a:pt x="1028" y="32"/>
                </a:lnTo>
                <a:lnTo>
                  <a:pt x="1021" y="38"/>
                </a:lnTo>
                <a:lnTo>
                  <a:pt x="1014" y="43"/>
                </a:lnTo>
                <a:lnTo>
                  <a:pt x="1006" y="49"/>
                </a:lnTo>
                <a:lnTo>
                  <a:pt x="1000" y="57"/>
                </a:lnTo>
                <a:lnTo>
                  <a:pt x="995" y="64"/>
                </a:lnTo>
                <a:lnTo>
                  <a:pt x="989" y="72"/>
                </a:lnTo>
                <a:lnTo>
                  <a:pt x="985" y="81"/>
                </a:lnTo>
                <a:lnTo>
                  <a:pt x="982" y="90"/>
                </a:lnTo>
                <a:lnTo>
                  <a:pt x="979" y="100"/>
                </a:lnTo>
                <a:lnTo>
                  <a:pt x="978" y="109"/>
                </a:lnTo>
                <a:lnTo>
                  <a:pt x="978" y="118"/>
                </a:lnTo>
                <a:lnTo>
                  <a:pt x="978" y="127"/>
                </a:lnTo>
                <a:lnTo>
                  <a:pt x="979" y="135"/>
                </a:lnTo>
                <a:lnTo>
                  <a:pt x="981" y="144"/>
                </a:lnTo>
                <a:lnTo>
                  <a:pt x="983" y="152"/>
                </a:lnTo>
                <a:lnTo>
                  <a:pt x="986" y="159"/>
                </a:lnTo>
                <a:lnTo>
                  <a:pt x="990" y="167"/>
                </a:lnTo>
                <a:lnTo>
                  <a:pt x="995" y="174"/>
                </a:lnTo>
                <a:lnTo>
                  <a:pt x="1000" y="181"/>
                </a:lnTo>
                <a:lnTo>
                  <a:pt x="984" y="197"/>
                </a:lnTo>
                <a:lnTo>
                  <a:pt x="978" y="189"/>
                </a:lnTo>
                <a:lnTo>
                  <a:pt x="971" y="179"/>
                </a:lnTo>
                <a:lnTo>
                  <a:pt x="967" y="171"/>
                </a:lnTo>
                <a:lnTo>
                  <a:pt x="963" y="160"/>
                </a:lnTo>
                <a:lnTo>
                  <a:pt x="959" y="151"/>
                </a:lnTo>
                <a:lnTo>
                  <a:pt x="957" y="140"/>
                </a:lnTo>
                <a:lnTo>
                  <a:pt x="956" y="130"/>
                </a:lnTo>
                <a:lnTo>
                  <a:pt x="954" y="118"/>
                </a:lnTo>
                <a:close/>
                <a:moveTo>
                  <a:pt x="851" y="156"/>
                </a:moveTo>
                <a:lnTo>
                  <a:pt x="851" y="82"/>
                </a:lnTo>
                <a:lnTo>
                  <a:pt x="871" y="82"/>
                </a:lnTo>
                <a:lnTo>
                  <a:pt x="871" y="139"/>
                </a:lnTo>
                <a:lnTo>
                  <a:pt x="905" y="139"/>
                </a:lnTo>
                <a:lnTo>
                  <a:pt x="905" y="156"/>
                </a:lnTo>
                <a:lnTo>
                  <a:pt x="851" y="156"/>
                </a:lnTo>
                <a:close/>
                <a:moveTo>
                  <a:pt x="782" y="156"/>
                </a:moveTo>
                <a:lnTo>
                  <a:pt x="836" y="156"/>
                </a:lnTo>
                <a:lnTo>
                  <a:pt x="836" y="139"/>
                </a:lnTo>
                <a:lnTo>
                  <a:pt x="800" y="139"/>
                </a:lnTo>
                <a:lnTo>
                  <a:pt x="800" y="127"/>
                </a:lnTo>
                <a:lnTo>
                  <a:pt x="830" y="127"/>
                </a:lnTo>
                <a:lnTo>
                  <a:pt x="830" y="111"/>
                </a:lnTo>
                <a:lnTo>
                  <a:pt x="800" y="111"/>
                </a:lnTo>
                <a:lnTo>
                  <a:pt x="800" y="99"/>
                </a:lnTo>
                <a:lnTo>
                  <a:pt x="835" y="99"/>
                </a:lnTo>
                <a:lnTo>
                  <a:pt x="835" y="82"/>
                </a:lnTo>
                <a:lnTo>
                  <a:pt x="782" y="82"/>
                </a:lnTo>
                <a:lnTo>
                  <a:pt x="782" y="156"/>
                </a:lnTo>
                <a:close/>
                <a:moveTo>
                  <a:pt x="696" y="120"/>
                </a:moveTo>
                <a:lnTo>
                  <a:pt x="696" y="120"/>
                </a:lnTo>
                <a:lnTo>
                  <a:pt x="697" y="111"/>
                </a:lnTo>
                <a:lnTo>
                  <a:pt x="699" y="104"/>
                </a:lnTo>
                <a:lnTo>
                  <a:pt x="702" y="96"/>
                </a:lnTo>
                <a:lnTo>
                  <a:pt x="707" y="91"/>
                </a:lnTo>
                <a:lnTo>
                  <a:pt x="712" y="86"/>
                </a:lnTo>
                <a:lnTo>
                  <a:pt x="718" y="83"/>
                </a:lnTo>
                <a:lnTo>
                  <a:pt x="725" y="81"/>
                </a:lnTo>
                <a:lnTo>
                  <a:pt x="733" y="80"/>
                </a:lnTo>
                <a:lnTo>
                  <a:pt x="739" y="81"/>
                </a:lnTo>
                <a:lnTo>
                  <a:pt x="745" y="82"/>
                </a:lnTo>
                <a:lnTo>
                  <a:pt x="750" y="84"/>
                </a:lnTo>
                <a:lnTo>
                  <a:pt x="754" y="86"/>
                </a:lnTo>
                <a:lnTo>
                  <a:pt x="758" y="90"/>
                </a:lnTo>
                <a:lnTo>
                  <a:pt x="761" y="94"/>
                </a:lnTo>
                <a:lnTo>
                  <a:pt x="765" y="100"/>
                </a:lnTo>
                <a:lnTo>
                  <a:pt x="766" y="106"/>
                </a:lnTo>
                <a:lnTo>
                  <a:pt x="746" y="106"/>
                </a:lnTo>
                <a:lnTo>
                  <a:pt x="744" y="101"/>
                </a:lnTo>
                <a:lnTo>
                  <a:pt x="741" y="99"/>
                </a:lnTo>
                <a:lnTo>
                  <a:pt x="737" y="96"/>
                </a:lnTo>
                <a:lnTo>
                  <a:pt x="733" y="96"/>
                </a:lnTo>
                <a:lnTo>
                  <a:pt x="730" y="96"/>
                </a:lnTo>
                <a:lnTo>
                  <a:pt x="726" y="99"/>
                </a:lnTo>
                <a:lnTo>
                  <a:pt x="724" y="101"/>
                </a:lnTo>
                <a:lnTo>
                  <a:pt x="720" y="103"/>
                </a:lnTo>
                <a:lnTo>
                  <a:pt x="719" y="106"/>
                </a:lnTo>
                <a:lnTo>
                  <a:pt x="717" y="110"/>
                </a:lnTo>
                <a:lnTo>
                  <a:pt x="716" y="120"/>
                </a:lnTo>
                <a:lnTo>
                  <a:pt x="717" y="129"/>
                </a:lnTo>
                <a:lnTo>
                  <a:pt x="719" y="132"/>
                </a:lnTo>
                <a:lnTo>
                  <a:pt x="721" y="136"/>
                </a:lnTo>
                <a:lnTo>
                  <a:pt x="724" y="138"/>
                </a:lnTo>
                <a:lnTo>
                  <a:pt x="727" y="140"/>
                </a:lnTo>
                <a:lnTo>
                  <a:pt x="730" y="143"/>
                </a:lnTo>
                <a:lnTo>
                  <a:pt x="734" y="143"/>
                </a:lnTo>
                <a:lnTo>
                  <a:pt x="741" y="142"/>
                </a:lnTo>
                <a:lnTo>
                  <a:pt x="747" y="139"/>
                </a:lnTo>
                <a:lnTo>
                  <a:pt x="747" y="129"/>
                </a:lnTo>
                <a:lnTo>
                  <a:pt x="734" y="129"/>
                </a:lnTo>
                <a:lnTo>
                  <a:pt x="734" y="115"/>
                </a:lnTo>
                <a:lnTo>
                  <a:pt x="766" y="115"/>
                </a:lnTo>
                <a:lnTo>
                  <a:pt x="766" y="148"/>
                </a:lnTo>
                <a:lnTo>
                  <a:pt x="758" y="153"/>
                </a:lnTo>
                <a:lnTo>
                  <a:pt x="751" y="156"/>
                </a:lnTo>
                <a:lnTo>
                  <a:pt x="742" y="158"/>
                </a:lnTo>
                <a:lnTo>
                  <a:pt x="736" y="159"/>
                </a:lnTo>
                <a:lnTo>
                  <a:pt x="727" y="158"/>
                </a:lnTo>
                <a:lnTo>
                  <a:pt x="719" y="156"/>
                </a:lnTo>
                <a:lnTo>
                  <a:pt x="712" y="153"/>
                </a:lnTo>
                <a:lnTo>
                  <a:pt x="707" y="149"/>
                </a:lnTo>
                <a:lnTo>
                  <a:pt x="702" y="143"/>
                </a:lnTo>
                <a:lnTo>
                  <a:pt x="699" y="136"/>
                </a:lnTo>
                <a:lnTo>
                  <a:pt x="697" y="128"/>
                </a:lnTo>
                <a:lnTo>
                  <a:pt x="696" y="120"/>
                </a:lnTo>
                <a:close/>
                <a:moveTo>
                  <a:pt x="644" y="130"/>
                </a:moveTo>
                <a:lnTo>
                  <a:pt x="654" y="102"/>
                </a:lnTo>
                <a:lnTo>
                  <a:pt x="663" y="130"/>
                </a:lnTo>
                <a:lnTo>
                  <a:pt x="644" y="130"/>
                </a:lnTo>
                <a:close/>
                <a:moveTo>
                  <a:pt x="615" y="156"/>
                </a:moveTo>
                <a:lnTo>
                  <a:pt x="636" y="156"/>
                </a:lnTo>
                <a:lnTo>
                  <a:pt x="639" y="145"/>
                </a:lnTo>
                <a:lnTo>
                  <a:pt x="669" y="145"/>
                </a:lnTo>
                <a:lnTo>
                  <a:pt x="673" y="156"/>
                </a:lnTo>
                <a:lnTo>
                  <a:pt x="693" y="156"/>
                </a:lnTo>
                <a:lnTo>
                  <a:pt x="664" y="82"/>
                </a:lnTo>
                <a:lnTo>
                  <a:pt x="643" y="82"/>
                </a:lnTo>
                <a:lnTo>
                  <a:pt x="615" y="156"/>
                </a:lnTo>
                <a:close/>
                <a:moveTo>
                  <a:pt x="541" y="156"/>
                </a:moveTo>
                <a:lnTo>
                  <a:pt x="559" y="156"/>
                </a:lnTo>
                <a:lnTo>
                  <a:pt x="559" y="112"/>
                </a:lnTo>
                <a:lnTo>
                  <a:pt x="585" y="156"/>
                </a:lnTo>
                <a:lnTo>
                  <a:pt x="606" y="156"/>
                </a:lnTo>
                <a:lnTo>
                  <a:pt x="606" y="82"/>
                </a:lnTo>
                <a:lnTo>
                  <a:pt x="587" y="82"/>
                </a:lnTo>
                <a:lnTo>
                  <a:pt x="587" y="126"/>
                </a:lnTo>
                <a:lnTo>
                  <a:pt x="561" y="82"/>
                </a:lnTo>
                <a:lnTo>
                  <a:pt x="541" y="82"/>
                </a:lnTo>
                <a:lnTo>
                  <a:pt x="541" y="156"/>
                </a:lnTo>
                <a:close/>
                <a:moveTo>
                  <a:pt x="457" y="127"/>
                </a:moveTo>
                <a:lnTo>
                  <a:pt x="457" y="117"/>
                </a:lnTo>
                <a:lnTo>
                  <a:pt x="486" y="117"/>
                </a:lnTo>
                <a:lnTo>
                  <a:pt x="486" y="87"/>
                </a:lnTo>
                <a:lnTo>
                  <a:pt x="498" y="87"/>
                </a:lnTo>
                <a:lnTo>
                  <a:pt x="498" y="117"/>
                </a:lnTo>
                <a:lnTo>
                  <a:pt x="527" y="117"/>
                </a:lnTo>
                <a:lnTo>
                  <a:pt x="527" y="127"/>
                </a:lnTo>
                <a:lnTo>
                  <a:pt x="498" y="127"/>
                </a:lnTo>
                <a:lnTo>
                  <a:pt x="498" y="156"/>
                </a:lnTo>
                <a:lnTo>
                  <a:pt x="486" y="156"/>
                </a:lnTo>
                <a:lnTo>
                  <a:pt x="486" y="127"/>
                </a:lnTo>
                <a:lnTo>
                  <a:pt x="457" y="127"/>
                </a:lnTo>
                <a:close/>
                <a:moveTo>
                  <a:pt x="392" y="156"/>
                </a:moveTo>
                <a:lnTo>
                  <a:pt x="448" y="156"/>
                </a:lnTo>
                <a:lnTo>
                  <a:pt x="448" y="139"/>
                </a:lnTo>
                <a:lnTo>
                  <a:pt x="411" y="139"/>
                </a:lnTo>
                <a:lnTo>
                  <a:pt x="411" y="127"/>
                </a:lnTo>
                <a:lnTo>
                  <a:pt x="442" y="127"/>
                </a:lnTo>
                <a:lnTo>
                  <a:pt x="442" y="111"/>
                </a:lnTo>
                <a:lnTo>
                  <a:pt x="411" y="111"/>
                </a:lnTo>
                <a:lnTo>
                  <a:pt x="411" y="99"/>
                </a:lnTo>
                <a:lnTo>
                  <a:pt x="446" y="99"/>
                </a:lnTo>
                <a:lnTo>
                  <a:pt x="446" y="82"/>
                </a:lnTo>
                <a:lnTo>
                  <a:pt x="392" y="82"/>
                </a:lnTo>
                <a:lnTo>
                  <a:pt x="392" y="156"/>
                </a:lnTo>
                <a:close/>
                <a:moveTo>
                  <a:pt x="309" y="156"/>
                </a:moveTo>
                <a:lnTo>
                  <a:pt x="328" y="156"/>
                </a:lnTo>
                <a:lnTo>
                  <a:pt x="328" y="112"/>
                </a:lnTo>
                <a:lnTo>
                  <a:pt x="354" y="156"/>
                </a:lnTo>
                <a:lnTo>
                  <a:pt x="374" y="156"/>
                </a:lnTo>
                <a:lnTo>
                  <a:pt x="374" y="82"/>
                </a:lnTo>
                <a:lnTo>
                  <a:pt x="356" y="82"/>
                </a:lnTo>
                <a:lnTo>
                  <a:pt x="356" y="126"/>
                </a:lnTo>
                <a:lnTo>
                  <a:pt x="329" y="82"/>
                </a:lnTo>
                <a:lnTo>
                  <a:pt x="309" y="82"/>
                </a:lnTo>
                <a:lnTo>
                  <a:pt x="309" y="156"/>
                </a:lnTo>
                <a:close/>
                <a:moveTo>
                  <a:pt x="226" y="156"/>
                </a:moveTo>
                <a:lnTo>
                  <a:pt x="246" y="156"/>
                </a:lnTo>
                <a:lnTo>
                  <a:pt x="246" y="128"/>
                </a:lnTo>
                <a:lnTo>
                  <a:pt x="272" y="128"/>
                </a:lnTo>
                <a:lnTo>
                  <a:pt x="272" y="156"/>
                </a:lnTo>
                <a:lnTo>
                  <a:pt x="292" y="156"/>
                </a:lnTo>
                <a:lnTo>
                  <a:pt x="292" y="82"/>
                </a:lnTo>
                <a:lnTo>
                  <a:pt x="272" y="82"/>
                </a:lnTo>
                <a:lnTo>
                  <a:pt x="272" y="110"/>
                </a:lnTo>
                <a:lnTo>
                  <a:pt x="246" y="110"/>
                </a:lnTo>
                <a:lnTo>
                  <a:pt x="246" y="82"/>
                </a:lnTo>
                <a:lnTo>
                  <a:pt x="226" y="82"/>
                </a:lnTo>
                <a:lnTo>
                  <a:pt x="226" y="156"/>
                </a:lnTo>
                <a:close/>
                <a:moveTo>
                  <a:pt x="155" y="156"/>
                </a:moveTo>
                <a:lnTo>
                  <a:pt x="211" y="156"/>
                </a:lnTo>
                <a:lnTo>
                  <a:pt x="211" y="139"/>
                </a:lnTo>
                <a:lnTo>
                  <a:pt x="174" y="139"/>
                </a:lnTo>
                <a:lnTo>
                  <a:pt x="174" y="127"/>
                </a:lnTo>
                <a:lnTo>
                  <a:pt x="205" y="127"/>
                </a:lnTo>
                <a:lnTo>
                  <a:pt x="205" y="111"/>
                </a:lnTo>
                <a:lnTo>
                  <a:pt x="174" y="111"/>
                </a:lnTo>
                <a:lnTo>
                  <a:pt x="174" y="99"/>
                </a:lnTo>
                <a:lnTo>
                  <a:pt x="209" y="99"/>
                </a:lnTo>
                <a:lnTo>
                  <a:pt x="209" y="82"/>
                </a:lnTo>
                <a:lnTo>
                  <a:pt x="155" y="82"/>
                </a:lnTo>
                <a:lnTo>
                  <a:pt x="155" y="156"/>
                </a:lnTo>
                <a:close/>
                <a:moveTo>
                  <a:pt x="74" y="126"/>
                </a:moveTo>
                <a:lnTo>
                  <a:pt x="74" y="126"/>
                </a:lnTo>
                <a:lnTo>
                  <a:pt x="74" y="134"/>
                </a:lnTo>
                <a:lnTo>
                  <a:pt x="76" y="142"/>
                </a:lnTo>
                <a:lnTo>
                  <a:pt x="79" y="147"/>
                </a:lnTo>
                <a:lnTo>
                  <a:pt x="83" y="151"/>
                </a:lnTo>
                <a:lnTo>
                  <a:pt x="89" y="155"/>
                </a:lnTo>
                <a:lnTo>
                  <a:pt x="94" y="157"/>
                </a:lnTo>
                <a:lnTo>
                  <a:pt x="99" y="158"/>
                </a:lnTo>
                <a:lnTo>
                  <a:pt x="107" y="159"/>
                </a:lnTo>
                <a:lnTo>
                  <a:pt x="113" y="158"/>
                </a:lnTo>
                <a:lnTo>
                  <a:pt x="118" y="157"/>
                </a:lnTo>
                <a:lnTo>
                  <a:pt x="124" y="155"/>
                </a:lnTo>
                <a:lnTo>
                  <a:pt x="129" y="151"/>
                </a:lnTo>
                <a:lnTo>
                  <a:pt x="133" y="147"/>
                </a:lnTo>
                <a:lnTo>
                  <a:pt x="136" y="142"/>
                </a:lnTo>
                <a:lnTo>
                  <a:pt x="138" y="134"/>
                </a:lnTo>
                <a:lnTo>
                  <a:pt x="138" y="126"/>
                </a:lnTo>
                <a:lnTo>
                  <a:pt x="138" y="82"/>
                </a:lnTo>
                <a:lnTo>
                  <a:pt x="118" y="82"/>
                </a:lnTo>
                <a:lnTo>
                  <a:pt x="118" y="129"/>
                </a:lnTo>
                <a:lnTo>
                  <a:pt x="117" y="134"/>
                </a:lnTo>
                <a:lnTo>
                  <a:pt x="115" y="138"/>
                </a:lnTo>
                <a:lnTo>
                  <a:pt x="112" y="142"/>
                </a:lnTo>
                <a:lnTo>
                  <a:pt x="107" y="142"/>
                </a:lnTo>
                <a:lnTo>
                  <a:pt x="100" y="142"/>
                </a:lnTo>
                <a:lnTo>
                  <a:pt x="97" y="138"/>
                </a:lnTo>
                <a:lnTo>
                  <a:pt x="94" y="134"/>
                </a:lnTo>
                <a:lnTo>
                  <a:pt x="94" y="129"/>
                </a:lnTo>
                <a:lnTo>
                  <a:pt x="94" y="82"/>
                </a:lnTo>
                <a:lnTo>
                  <a:pt x="74" y="82"/>
                </a:lnTo>
                <a:lnTo>
                  <a:pt x="74" y="126"/>
                </a:lnTo>
                <a:close/>
                <a:moveTo>
                  <a:pt x="0" y="156"/>
                </a:moveTo>
                <a:lnTo>
                  <a:pt x="20" y="156"/>
                </a:lnTo>
                <a:lnTo>
                  <a:pt x="20" y="135"/>
                </a:lnTo>
                <a:lnTo>
                  <a:pt x="26" y="127"/>
                </a:lnTo>
                <a:lnTo>
                  <a:pt x="43" y="156"/>
                </a:lnTo>
                <a:lnTo>
                  <a:pt x="66" y="156"/>
                </a:lnTo>
                <a:lnTo>
                  <a:pt x="40" y="112"/>
                </a:lnTo>
                <a:lnTo>
                  <a:pt x="63" y="82"/>
                </a:lnTo>
                <a:lnTo>
                  <a:pt x="40" y="82"/>
                </a:lnTo>
                <a:lnTo>
                  <a:pt x="20" y="109"/>
                </a:lnTo>
                <a:lnTo>
                  <a:pt x="20" y="82"/>
                </a:lnTo>
                <a:lnTo>
                  <a:pt x="0" y="82"/>
                </a:lnTo>
                <a:lnTo>
                  <a:pt x="0" y="1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 name="Freeform 9">
            <a:extLst>
              <a:ext uri="{FF2B5EF4-FFF2-40B4-BE49-F238E27FC236}">
                <a16:creationId xmlns:a16="http://schemas.microsoft.com/office/drawing/2014/main" id="{1B7CD855-179E-07E6-C202-F5C376B770C0}"/>
              </a:ext>
            </a:extLst>
          </p:cNvPr>
          <p:cNvSpPr>
            <a:spLocks/>
          </p:cNvSpPr>
          <p:nvPr/>
        </p:nvSpPr>
        <p:spPr bwMode="auto">
          <a:xfrm>
            <a:off x="793750" y="1785938"/>
            <a:ext cx="1939925" cy="1622425"/>
          </a:xfrm>
          <a:custGeom>
            <a:avLst/>
            <a:gdLst>
              <a:gd name="T0" fmla="*/ 1939925 w 1222"/>
              <a:gd name="T1" fmla="*/ 811213 h 1022"/>
              <a:gd name="T2" fmla="*/ 1127125 w 1222"/>
              <a:gd name="T3" fmla="*/ 0 h 1022"/>
              <a:gd name="T4" fmla="*/ 963613 w 1222"/>
              <a:gd name="T5" fmla="*/ 163513 h 1022"/>
              <a:gd name="T6" fmla="*/ 1489075 w 1222"/>
              <a:gd name="T7" fmla="*/ 687388 h 1022"/>
              <a:gd name="T8" fmla="*/ 0 w 1222"/>
              <a:gd name="T9" fmla="*/ 687388 h 1022"/>
              <a:gd name="T10" fmla="*/ 0 w 1222"/>
              <a:gd name="T11" fmla="*/ 915988 h 1022"/>
              <a:gd name="T12" fmla="*/ 1508125 w 1222"/>
              <a:gd name="T13" fmla="*/ 915988 h 1022"/>
              <a:gd name="T14" fmla="*/ 963613 w 1222"/>
              <a:gd name="T15" fmla="*/ 1458913 h 1022"/>
              <a:gd name="T16" fmla="*/ 1127125 w 1222"/>
              <a:gd name="T17" fmla="*/ 1622425 h 1022"/>
              <a:gd name="T18" fmla="*/ 1939925 w 1222"/>
              <a:gd name="T19" fmla="*/ 811213 h 1022"/>
              <a:gd name="T20" fmla="*/ 1939925 w 1222"/>
              <a:gd name="T21" fmla="*/ 811213 h 1022"/>
              <a:gd name="T22" fmla="*/ 1939925 w 1222"/>
              <a:gd name="T23" fmla="*/ 811213 h 10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22" h="1022">
                <a:moveTo>
                  <a:pt x="1222" y="511"/>
                </a:moveTo>
                <a:lnTo>
                  <a:pt x="710" y="0"/>
                </a:lnTo>
                <a:lnTo>
                  <a:pt x="607" y="103"/>
                </a:lnTo>
                <a:lnTo>
                  <a:pt x="938" y="433"/>
                </a:lnTo>
                <a:lnTo>
                  <a:pt x="0" y="433"/>
                </a:lnTo>
                <a:lnTo>
                  <a:pt x="0" y="577"/>
                </a:lnTo>
                <a:lnTo>
                  <a:pt x="950" y="577"/>
                </a:lnTo>
                <a:lnTo>
                  <a:pt x="607" y="919"/>
                </a:lnTo>
                <a:lnTo>
                  <a:pt x="710" y="1022"/>
                </a:lnTo>
                <a:lnTo>
                  <a:pt x="1222" y="5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Text Placeholder 6"/>
          <p:cNvSpPr>
            <a:spLocks noGrp="1"/>
          </p:cNvSpPr>
          <p:nvPr>
            <p:ph type="body" sz="quarter" idx="17"/>
          </p:nvPr>
        </p:nvSpPr>
        <p:spPr>
          <a:xfrm>
            <a:off x="3323775" y="2350313"/>
            <a:ext cx="6930000" cy="3240000"/>
          </a:xfrm>
        </p:spPr>
        <p:txBody>
          <a:bodyP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5" name="Slide Number Placeholder 3">
            <a:extLst>
              <a:ext uri="{FF2B5EF4-FFF2-40B4-BE49-F238E27FC236}">
                <a16:creationId xmlns:a16="http://schemas.microsoft.com/office/drawing/2014/main" id="{405BB7CC-6390-9B12-230E-151B7FA25BF1}"/>
              </a:ext>
            </a:extLst>
          </p:cNvPr>
          <p:cNvSpPr>
            <a:spLocks noGrp="1"/>
          </p:cNvSpPr>
          <p:nvPr>
            <p:ph type="sldNum" sz="quarter" idx="18"/>
          </p:nvPr>
        </p:nvSpPr>
        <p:spPr/>
        <p:txBody>
          <a:bodyPr/>
          <a:lstStyle>
            <a:lvl1pPr algn="r">
              <a:defRPr sz="1000">
                <a:solidFill>
                  <a:schemeClr val="bg1"/>
                </a:solidFill>
              </a:defRPr>
            </a:lvl1pPr>
          </a:lstStyle>
          <a:p>
            <a:pPr>
              <a:defRPr/>
            </a:pPr>
            <a:fld id="{2D1FB9A7-059C-42A6-BEEC-96FA1AD5C876}" type="slidenum">
              <a:rPr lang="en-GB"/>
              <a:pPr>
                <a:defRPr/>
              </a:pPr>
              <a:t>‹#›</a:t>
            </a:fld>
            <a:endParaRPr lang="en-GB" dirty="0"/>
          </a:p>
        </p:txBody>
      </p:sp>
    </p:spTree>
    <p:extLst>
      <p:ext uri="{BB962C8B-B14F-4D97-AF65-F5344CB8AC3E}">
        <p14:creationId xmlns:p14="http://schemas.microsoft.com/office/powerpoint/2010/main" val="3196729781"/>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ndard_Textbox+blue_pane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BE04C5-E7C7-AC41-840A-65A1A0907956}"/>
              </a:ext>
            </a:extLst>
          </p:cNvPr>
          <p:cNvSpPr/>
          <p:nvPr/>
        </p:nvSpPr>
        <p:spPr>
          <a:xfrm>
            <a:off x="7481888" y="0"/>
            <a:ext cx="470376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5">
            <a:extLst>
              <a:ext uri="{FF2B5EF4-FFF2-40B4-BE49-F238E27FC236}">
                <a16:creationId xmlns:a16="http://schemas.microsoft.com/office/drawing/2014/main" id="{962B543D-81DC-0DB3-0BF6-AAED26D4AC46}"/>
              </a:ext>
            </a:extLst>
          </p:cNvPr>
          <p:cNvSpPr>
            <a:spLocks noEditPoints="1"/>
          </p:cNvSpPr>
          <p:nvPr/>
        </p:nvSpPr>
        <p:spPr bwMode="auto">
          <a:xfrm>
            <a:off x="9721850" y="558800"/>
            <a:ext cx="1908175" cy="377825"/>
          </a:xfrm>
          <a:custGeom>
            <a:avLst/>
            <a:gdLst>
              <a:gd name="T0" fmla="*/ 1714967 w 1196"/>
              <a:gd name="T1" fmla="*/ 110711 h 239"/>
              <a:gd name="T2" fmla="*/ 1729324 w 1196"/>
              <a:gd name="T3" fmla="*/ 142343 h 239"/>
              <a:gd name="T4" fmla="*/ 1695823 w 1196"/>
              <a:gd name="T5" fmla="*/ 129690 h 239"/>
              <a:gd name="T6" fmla="*/ 1649559 w 1196"/>
              <a:gd name="T7" fmla="*/ 366929 h 239"/>
              <a:gd name="T8" fmla="*/ 1750064 w 1196"/>
              <a:gd name="T9" fmla="*/ 374837 h 239"/>
              <a:gd name="T10" fmla="*/ 1813876 w 1196"/>
              <a:gd name="T11" fmla="*/ 308410 h 239"/>
              <a:gd name="T12" fmla="*/ 1764421 w 1196"/>
              <a:gd name="T13" fmla="*/ 211933 h 239"/>
              <a:gd name="T14" fmla="*/ 1756445 w 1196"/>
              <a:gd name="T15" fmla="*/ 142343 h 239"/>
              <a:gd name="T16" fmla="*/ 1746873 w 1196"/>
              <a:gd name="T17" fmla="*/ 99640 h 239"/>
              <a:gd name="T18" fmla="*/ 1697418 w 1196"/>
              <a:gd name="T19" fmla="*/ 91732 h 239"/>
              <a:gd name="T20" fmla="*/ 1670298 w 1196"/>
              <a:gd name="T21" fmla="*/ 129690 h 239"/>
              <a:gd name="T22" fmla="*/ 1665512 w 1196"/>
              <a:gd name="T23" fmla="*/ 186628 h 239"/>
              <a:gd name="T24" fmla="*/ 1633605 w 1196"/>
              <a:gd name="T25" fmla="*/ 321063 h 239"/>
              <a:gd name="T26" fmla="*/ 1531505 w 1196"/>
              <a:gd name="T27" fmla="*/ 132854 h 239"/>
              <a:gd name="T28" fmla="*/ 1608080 w 1196"/>
              <a:gd name="T29" fmla="*/ 33213 h 239"/>
              <a:gd name="T30" fmla="*/ 1716562 w 1196"/>
              <a:gd name="T31" fmla="*/ 0 h 239"/>
              <a:gd name="T32" fmla="*/ 1837806 w 1196"/>
              <a:gd name="T33" fmla="*/ 42703 h 239"/>
              <a:gd name="T34" fmla="*/ 1904809 w 1196"/>
              <a:gd name="T35" fmla="*/ 148669 h 239"/>
              <a:gd name="T36" fmla="*/ 1895237 w 1196"/>
              <a:gd name="T37" fmla="*/ 253054 h 239"/>
              <a:gd name="T38" fmla="*/ 1844187 w 1196"/>
              <a:gd name="T39" fmla="*/ 275197 h 239"/>
              <a:gd name="T40" fmla="*/ 1872903 w 1196"/>
              <a:gd name="T41" fmla="*/ 186628 h 239"/>
              <a:gd name="T42" fmla="*/ 1845783 w 1196"/>
              <a:gd name="T43" fmla="*/ 101222 h 239"/>
              <a:gd name="T44" fmla="*/ 1761231 w 1196"/>
              <a:gd name="T45" fmla="*/ 39540 h 239"/>
              <a:gd name="T46" fmla="*/ 1668702 w 1196"/>
              <a:gd name="T47" fmla="*/ 39540 h 239"/>
              <a:gd name="T48" fmla="*/ 1587341 w 1196"/>
              <a:gd name="T49" fmla="*/ 101222 h 239"/>
              <a:gd name="T50" fmla="*/ 1560221 w 1196"/>
              <a:gd name="T51" fmla="*/ 186628 h 239"/>
              <a:gd name="T52" fmla="*/ 1587341 w 1196"/>
              <a:gd name="T53" fmla="*/ 275197 h 239"/>
              <a:gd name="T54" fmla="*/ 1536291 w 1196"/>
              <a:gd name="T55" fmla="*/ 253054 h 239"/>
              <a:gd name="T56" fmla="*/ 1357615 w 1196"/>
              <a:gd name="T57" fmla="*/ 129690 h 239"/>
              <a:gd name="T58" fmla="*/ 1333686 w 1196"/>
              <a:gd name="T59" fmla="*/ 246728 h 239"/>
              <a:gd name="T60" fmla="*/ 1276254 w 1196"/>
              <a:gd name="T61" fmla="*/ 156577 h 239"/>
              <a:gd name="T62" fmla="*/ 1111936 w 1196"/>
              <a:gd name="T63" fmla="*/ 175556 h 239"/>
              <a:gd name="T64" fmla="*/ 1169368 w 1196"/>
              <a:gd name="T65" fmla="*/ 126527 h 239"/>
              <a:gd name="T66" fmla="*/ 1214037 w 1196"/>
              <a:gd name="T67" fmla="*/ 148669 h 239"/>
              <a:gd name="T68" fmla="*/ 1175749 w 1196"/>
              <a:gd name="T69" fmla="*/ 151833 h 239"/>
              <a:gd name="T70" fmla="*/ 1147033 w 1196"/>
              <a:gd name="T71" fmla="*/ 167649 h 239"/>
              <a:gd name="T72" fmla="*/ 1155010 w 1196"/>
              <a:gd name="T73" fmla="*/ 218259 h 239"/>
              <a:gd name="T74" fmla="*/ 1191702 w 1196"/>
              <a:gd name="T75" fmla="*/ 204025 h 239"/>
              <a:gd name="T76" fmla="*/ 1198084 w 1196"/>
              <a:gd name="T77" fmla="*/ 246728 h 239"/>
              <a:gd name="T78" fmla="*/ 1127890 w 1196"/>
              <a:gd name="T79" fmla="*/ 235657 h 239"/>
              <a:gd name="T80" fmla="*/ 1043338 w 1196"/>
              <a:gd name="T81" fmla="*/ 161322 h 239"/>
              <a:gd name="T82" fmla="*/ 1073649 w 1196"/>
              <a:gd name="T83" fmla="*/ 246728 h 239"/>
              <a:gd name="T84" fmla="*/ 891783 w 1196"/>
              <a:gd name="T85" fmla="*/ 177138 h 239"/>
              <a:gd name="T86" fmla="*/ 863067 w 1196"/>
              <a:gd name="T87" fmla="*/ 129690 h 239"/>
              <a:gd name="T88" fmla="*/ 794468 w 1196"/>
              <a:gd name="T89" fmla="*/ 185046 h 239"/>
              <a:gd name="T90" fmla="*/ 729060 w 1196"/>
              <a:gd name="T91" fmla="*/ 200862 h 239"/>
              <a:gd name="T92" fmla="*/ 705130 w 1196"/>
              <a:gd name="T93" fmla="*/ 175556 h 239"/>
              <a:gd name="T94" fmla="*/ 492953 w 1196"/>
              <a:gd name="T95" fmla="*/ 246728 h 239"/>
              <a:gd name="T96" fmla="*/ 567933 w 1196"/>
              <a:gd name="T97" fmla="*/ 199280 h 239"/>
              <a:gd name="T98" fmla="*/ 433926 w 1196"/>
              <a:gd name="T99" fmla="*/ 202444 h 239"/>
              <a:gd name="T100" fmla="*/ 392448 w 1196"/>
              <a:gd name="T101" fmla="*/ 129690 h 239"/>
              <a:gd name="T102" fmla="*/ 277585 w 1196"/>
              <a:gd name="T103" fmla="*/ 200862 h 239"/>
              <a:gd name="T104" fmla="*/ 247274 w 1196"/>
              <a:gd name="T105" fmla="*/ 129690 h 239"/>
              <a:gd name="T106" fmla="*/ 132411 w 1196"/>
              <a:gd name="T107" fmla="*/ 238820 h 239"/>
              <a:gd name="T108" fmla="*/ 188247 w 1196"/>
              <a:gd name="T109" fmla="*/ 248310 h 239"/>
              <a:gd name="T110" fmla="*/ 220154 w 1196"/>
              <a:gd name="T111" fmla="*/ 129690 h 239"/>
              <a:gd name="T112" fmla="*/ 170699 w 1196"/>
              <a:gd name="T113" fmla="*/ 224586 h 239"/>
              <a:gd name="T114" fmla="*/ 118054 w 1196"/>
              <a:gd name="T115" fmla="*/ 129690 h 239"/>
              <a:gd name="T116" fmla="*/ 105291 w 1196"/>
              <a:gd name="T117" fmla="*/ 246728 h 239"/>
              <a:gd name="T118" fmla="*/ 0 w 1196"/>
              <a:gd name="T119" fmla="*/ 246728 h 2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96" h="239">
                <a:moveTo>
                  <a:pt x="1063" y="82"/>
                </a:moveTo>
                <a:lnTo>
                  <a:pt x="1063" y="82"/>
                </a:lnTo>
                <a:lnTo>
                  <a:pt x="1064" y="78"/>
                </a:lnTo>
                <a:lnTo>
                  <a:pt x="1066" y="73"/>
                </a:lnTo>
                <a:lnTo>
                  <a:pt x="1070" y="71"/>
                </a:lnTo>
                <a:lnTo>
                  <a:pt x="1075" y="70"/>
                </a:lnTo>
                <a:lnTo>
                  <a:pt x="1080" y="71"/>
                </a:lnTo>
                <a:lnTo>
                  <a:pt x="1084" y="73"/>
                </a:lnTo>
                <a:lnTo>
                  <a:pt x="1086" y="78"/>
                </a:lnTo>
                <a:lnTo>
                  <a:pt x="1087" y="82"/>
                </a:lnTo>
                <a:lnTo>
                  <a:pt x="1086" y="87"/>
                </a:lnTo>
                <a:lnTo>
                  <a:pt x="1084" y="90"/>
                </a:lnTo>
                <a:lnTo>
                  <a:pt x="1080" y="93"/>
                </a:lnTo>
                <a:lnTo>
                  <a:pt x="1075" y="94"/>
                </a:lnTo>
                <a:lnTo>
                  <a:pt x="1070" y="93"/>
                </a:lnTo>
                <a:lnTo>
                  <a:pt x="1066" y="90"/>
                </a:lnTo>
                <a:lnTo>
                  <a:pt x="1064" y="87"/>
                </a:lnTo>
                <a:lnTo>
                  <a:pt x="1063" y="82"/>
                </a:lnTo>
                <a:close/>
                <a:moveTo>
                  <a:pt x="998" y="211"/>
                </a:moveTo>
                <a:lnTo>
                  <a:pt x="998" y="211"/>
                </a:lnTo>
                <a:lnTo>
                  <a:pt x="1006" y="217"/>
                </a:lnTo>
                <a:lnTo>
                  <a:pt x="1015" y="222"/>
                </a:lnTo>
                <a:lnTo>
                  <a:pt x="1024" y="227"/>
                </a:lnTo>
                <a:lnTo>
                  <a:pt x="1034" y="232"/>
                </a:lnTo>
                <a:lnTo>
                  <a:pt x="1044" y="235"/>
                </a:lnTo>
                <a:lnTo>
                  <a:pt x="1054" y="237"/>
                </a:lnTo>
                <a:lnTo>
                  <a:pt x="1064" y="238"/>
                </a:lnTo>
                <a:lnTo>
                  <a:pt x="1076" y="239"/>
                </a:lnTo>
                <a:lnTo>
                  <a:pt x="1086" y="238"/>
                </a:lnTo>
                <a:lnTo>
                  <a:pt x="1097" y="237"/>
                </a:lnTo>
                <a:lnTo>
                  <a:pt x="1106" y="235"/>
                </a:lnTo>
                <a:lnTo>
                  <a:pt x="1117" y="232"/>
                </a:lnTo>
                <a:lnTo>
                  <a:pt x="1126" y="227"/>
                </a:lnTo>
                <a:lnTo>
                  <a:pt x="1136" y="222"/>
                </a:lnTo>
                <a:lnTo>
                  <a:pt x="1144" y="217"/>
                </a:lnTo>
                <a:lnTo>
                  <a:pt x="1153" y="211"/>
                </a:lnTo>
                <a:lnTo>
                  <a:pt x="1137" y="195"/>
                </a:lnTo>
                <a:lnTo>
                  <a:pt x="1126" y="203"/>
                </a:lnTo>
                <a:lnTo>
                  <a:pt x="1114" y="211"/>
                </a:lnTo>
                <a:lnTo>
                  <a:pt x="1100" y="216"/>
                </a:lnTo>
                <a:lnTo>
                  <a:pt x="1086" y="218"/>
                </a:lnTo>
                <a:lnTo>
                  <a:pt x="1086" y="134"/>
                </a:lnTo>
                <a:lnTo>
                  <a:pt x="1106" y="134"/>
                </a:lnTo>
                <a:lnTo>
                  <a:pt x="1106" y="118"/>
                </a:lnTo>
                <a:lnTo>
                  <a:pt x="1086" y="118"/>
                </a:lnTo>
                <a:lnTo>
                  <a:pt x="1086" y="106"/>
                </a:lnTo>
                <a:lnTo>
                  <a:pt x="1093" y="103"/>
                </a:lnTo>
                <a:lnTo>
                  <a:pt x="1098" y="97"/>
                </a:lnTo>
                <a:lnTo>
                  <a:pt x="1101" y="90"/>
                </a:lnTo>
                <a:lnTo>
                  <a:pt x="1102" y="86"/>
                </a:lnTo>
                <a:lnTo>
                  <a:pt x="1103" y="82"/>
                </a:lnTo>
                <a:lnTo>
                  <a:pt x="1102" y="77"/>
                </a:lnTo>
                <a:lnTo>
                  <a:pt x="1101" y="71"/>
                </a:lnTo>
                <a:lnTo>
                  <a:pt x="1098" y="67"/>
                </a:lnTo>
                <a:lnTo>
                  <a:pt x="1095" y="63"/>
                </a:lnTo>
                <a:lnTo>
                  <a:pt x="1091" y="60"/>
                </a:lnTo>
                <a:lnTo>
                  <a:pt x="1086" y="58"/>
                </a:lnTo>
                <a:lnTo>
                  <a:pt x="1081" y="56"/>
                </a:lnTo>
                <a:lnTo>
                  <a:pt x="1076" y="56"/>
                </a:lnTo>
                <a:lnTo>
                  <a:pt x="1069" y="56"/>
                </a:lnTo>
                <a:lnTo>
                  <a:pt x="1064" y="58"/>
                </a:lnTo>
                <a:lnTo>
                  <a:pt x="1060" y="60"/>
                </a:lnTo>
                <a:lnTo>
                  <a:pt x="1056" y="63"/>
                </a:lnTo>
                <a:lnTo>
                  <a:pt x="1053" y="67"/>
                </a:lnTo>
                <a:lnTo>
                  <a:pt x="1049" y="71"/>
                </a:lnTo>
                <a:lnTo>
                  <a:pt x="1048" y="77"/>
                </a:lnTo>
                <a:lnTo>
                  <a:pt x="1047" y="82"/>
                </a:lnTo>
                <a:lnTo>
                  <a:pt x="1048" y="86"/>
                </a:lnTo>
                <a:lnTo>
                  <a:pt x="1049" y="90"/>
                </a:lnTo>
                <a:lnTo>
                  <a:pt x="1053" y="97"/>
                </a:lnTo>
                <a:lnTo>
                  <a:pt x="1058" y="103"/>
                </a:lnTo>
                <a:lnTo>
                  <a:pt x="1064" y="106"/>
                </a:lnTo>
                <a:lnTo>
                  <a:pt x="1064" y="118"/>
                </a:lnTo>
                <a:lnTo>
                  <a:pt x="1044" y="118"/>
                </a:lnTo>
                <a:lnTo>
                  <a:pt x="1044" y="134"/>
                </a:lnTo>
                <a:lnTo>
                  <a:pt x="1064" y="134"/>
                </a:lnTo>
                <a:lnTo>
                  <a:pt x="1064" y="218"/>
                </a:lnTo>
                <a:lnTo>
                  <a:pt x="1050" y="216"/>
                </a:lnTo>
                <a:lnTo>
                  <a:pt x="1037" y="211"/>
                </a:lnTo>
                <a:lnTo>
                  <a:pt x="1024" y="203"/>
                </a:lnTo>
                <a:lnTo>
                  <a:pt x="1014" y="195"/>
                </a:lnTo>
                <a:lnTo>
                  <a:pt x="998" y="211"/>
                </a:lnTo>
                <a:close/>
                <a:moveTo>
                  <a:pt x="954" y="118"/>
                </a:moveTo>
                <a:lnTo>
                  <a:pt x="954" y="118"/>
                </a:lnTo>
                <a:lnTo>
                  <a:pt x="956" y="107"/>
                </a:lnTo>
                <a:lnTo>
                  <a:pt x="958" y="94"/>
                </a:lnTo>
                <a:lnTo>
                  <a:pt x="960" y="84"/>
                </a:lnTo>
                <a:lnTo>
                  <a:pt x="964" y="72"/>
                </a:lnTo>
                <a:lnTo>
                  <a:pt x="969" y="62"/>
                </a:lnTo>
                <a:lnTo>
                  <a:pt x="976" y="52"/>
                </a:lnTo>
                <a:lnTo>
                  <a:pt x="982" y="43"/>
                </a:lnTo>
                <a:lnTo>
                  <a:pt x="990" y="35"/>
                </a:lnTo>
                <a:lnTo>
                  <a:pt x="999" y="27"/>
                </a:lnTo>
                <a:lnTo>
                  <a:pt x="1008" y="21"/>
                </a:lnTo>
                <a:lnTo>
                  <a:pt x="1018" y="15"/>
                </a:lnTo>
                <a:lnTo>
                  <a:pt x="1028" y="9"/>
                </a:lnTo>
                <a:lnTo>
                  <a:pt x="1040" y="5"/>
                </a:lnTo>
                <a:lnTo>
                  <a:pt x="1052" y="3"/>
                </a:lnTo>
                <a:lnTo>
                  <a:pt x="1063" y="1"/>
                </a:lnTo>
                <a:lnTo>
                  <a:pt x="1076" y="0"/>
                </a:lnTo>
                <a:lnTo>
                  <a:pt x="1087" y="1"/>
                </a:lnTo>
                <a:lnTo>
                  <a:pt x="1100" y="3"/>
                </a:lnTo>
                <a:lnTo>
                  <a:pt x="1111" y="5"/>
                </a:lnTo>
                <a:lnTo>
                  <a:pt x="1122" y="9"/>
                </a:lnTo>
                <a:lnTo>
                  <a:pt x="1133" y="15"/>
                </a:lnTo>
                <a:lnTo>
                  <a:pt x="1142" y="21"/>
                </a:lnTo>
                <a:lnTo>
                  <a:pt x="1152" y="27"/>
                </a:lnTo>
                <a:lnTo>
                  <a:pt x="1160" y="35"/>
                </a:lnTo>
                <a:lnTo>
                  <a:pt x="1169" y="43"/>
                </a:lnTo>
                <a:lnTo>
                  <a:pt x="1175" y="52"/>
                </a:lnTo>
                <a:lnTo>
                  <a:pt x="1181" y="62"/>
                </a:lnTo>
                <a:lnTo>
                  <a:pt x="1187" y="72"/>
                </a:lnTo>
                <a:lnTo>
                  <a:pt x="1191" y="84"/>
                </a:lnTo>
                <a:lnTo>
                  <a:pt x="1194" y="94"/>
                </a:lnTo>
                <a:lnTo>
                  <a:pt x="1195" y="107"/>
                </a:lnTo>
                <a:lnTo>
                  <a:pt x="1196" y="118"/>
                </a:lnTo>
                <a:lnTo>
                  <a:pt x="1195" y="130"/>
                </a:lnTo>
                <a:lnTo>
                  <a:pt x="1194" y="140"/>
                </a:lnTo>
                <a:lnTo>
                  <a:pt x="1192" y="151"/>
                </a:lnTo>
                <a:lnTo>
                  <a:pt x="1188" y="160"/>
                </a:lnTo>
                <a:lnTo>
                  <a:pt x="1184" y="171"/>
                </a:lnTo>
                <a:lnTo>
                  <a:pt x="1179" y="179"/>
                </a:lnTo>
                <a:lnTo>
                  <a:pt x="1173" y="189"/>
                </a:lnTo>
                <a:lnTo>
                  <a:pt x="1166" y="197"/>
                </a:lnTo>
                <a:lnTo>
                  <a:pt x="1151" y="181"/>
                </a:lnTo>
                <a:lnTo>
                  <a:pt x="1156" y="174"/>
                </a:lnTo>
                <a:lnTo>
                  <a:pt x="1160" y="167"/>
                </a:lnTo>
                <a:lnTo>
                  <a:pt x="1164" y="159"/>
                </a:lnTo>
                <a:lnTo>
                  <a:pt x="1168" y="152"/>
                </a:lnTo>
                <a:lnTo>
                  <a:pt x="1170" y="144"/>
                </a:lnTo>
                <a:lnTo>
                  <a:pt x="1172" y="135"/>
                </a:lnTo>
                <a:lnTo>
                  <a:pt x="1173" y="127"/>
                </a:lnTo>
                <a:lnTo>
                  <a:pt x="1174" y="118"/>
                </a:lnTo>
                <a:lnTo>
                  <a:pt x="1173" y="109"/>
                </a:lnTo>
                <a:lnTo>
                  <a:pt x="1172" y="100"/>
                </a:lnTo>
                <a:lnTo>
                  <a:pt x="1169" y="90"/>
                </a:lnTo>
                <a:lnTo>
                  <a:pt x="1165" y="81"/>
                </a:lnTo>
                <a:lnTo>
                  <a:pt x="1161" y="72"/>
                </a:lnTo>
                <a:lnTo>
                  <a:pt x="1157" y="64"/>
                </a:lnTo>
                <a:lnTo>
                  <a:pt x="1151" y="57"/>
                </a:lnTo>
                <a:lnTo>
                  <a:pt x="1144" y="49"/>
                </a:lnTo>
                <a:lnTo>
                  <a:pt x="1138" y="43"/>
                </a:lnTo>
                <a:lnTo>
                  <a:pt x="1130" y="38"/>
                </a:lnTo>
                <a:lnTo>
                  <a:pt x="1122" y="32"/>
                </a:lnTo>
                <a:lnTo>
                  <a:pt x="1114" y="28"/>
                </a:lnTo>
                <a:lnTo>
                  <a:pt x="1104" y="25"/>
                </a:lnTo>
                <a:lnTo>
                  <a:pt x="1095" y="23"/>
                </a:lnTo>
                <a:lnTo>
                  <a:pt x="1085" y="21"/>
                </a:lnTo>
                <a:lnTo>
                  <a:pt x="1076" y="21"/>
                </a:lnTo>
                <a:lnTo>
                  <a:pt x="1065" y="21"/>
                </a:lnTo>
                <a:lnTo>
                  <a:pt x="1056" y="23"/>
                </a:lnTo>
                <a:lnTo>
                  <a:pt x="1046" y="25"/>
                </a:lnTo>
                <a:lnTo>
                  <a:pt x="1037" y="28"/>
                </a:lnTo>
                <a:lnTo>
                  <a:pt x="1028" y="32"/>
                </a:lnTo>
                <a:lnTo>
                  <a:pt x="1021" y="38"/>
                </a:lnTo>
                <a:lnTo>
                  <a:pt x="1014" y="43"/>
                </a:lnTo>
                <a:lnTo>
                  <a:pt x="1006" y="49"/>
                </a:lnTo>
                <a:lnTo>
                  <a:pt x="1000" y="57"/>
                </a:lnTo>
                <a:lnTo>
                  <a:pt x="995" y="64"/>
                </a:lnTo>
                <a:lnTo>
                  <a:pt x="989" y="72"/>
                </a:lnTo>
                <a:lnTo>
                  <a:pt x="985" y="81"/>
                </a:lnTo>
                <a:lnTo>
                  <a:pt x="982" y="90"/>
                </a:lnTo>
                <a:lnTo>
                  <a:pt x="979" y="100"/>
                </a:lnTo>
                <a:lnTo>
                  <a:pt x="978" y="109"/>
                </a:lnTo>
                <a:lnTo>
                  <a:pt x="978" y="118"/>
                </a:lnTo>
                <a:lnTo>
                  <a:pt x="978" y="127"/>
                </a:lnTo>
                <a:lnTo>
                  <a:pt x="979" y="135"/>
                </a:lnTo>
                <a:lnTo>
                  <a:pt x="981" y="144"/>
                </a:lnTo>
                <a:lnTo>
                  <a:pt x="983" y="152"/>
                </a:lnTo>
                <a:lnTo>
                  <a:pt x="986" y="159"/>
                </a:lnTo>
                <a:lnTo>
                  <a:pt x="990" y="167"/>
                </a:lnTo>
                <a:lnTo>
                  <a:pt x="995" y="174"/>
                </a:lnTo>
                <a:lnTo>
                  <a:pt x="1000" y="181"/>
                </a:lnTo>
                <a:lnTo>
                  <a:pt x="984" y="197"/>
                </a:lnTo>
                <a:lnTo>
                  <a:pt x="978" y="189"/>
                </a:lnTo>
                <a:lnTo>
                  <a:pt x="971" y="179"/>
                </a:lnTo>
                <a:lnTo>
                  <a:pt x="967" y="171"/>
                </a:lnTo>
                <a:lnTo>
                  <a:pt x="963" y="160"/>
                </a:lnTo>
                <a:lnTo>
                  <a:pt x="959" y="151"/>
                </a:lnTo>
                <a:lnTo>
                  <a:pt x="957" y="140"/>
                </a:lnTo>
                <a:lnTo>
                  <a:pt x="956" y="130"/>
                </a:lnTo>
                <a:lnTo>
                  <a:pt x="954" y="118"/>
                </a:lnTo>
                <a:close/>
                <a:moveTo>
                  <a:pt x="851" y="156"/>
                </a:moveTo>
                <a:lnTo>
                  <a:pt x="851" y="82"/>
                </a:lnTo>
                <a:lnTo>
                  <a:pt x="871" y="82"/>
                </a:lnTo>
                <a:lnTo>
                  <a:pt x="871" y="139"/>
                </a:lnTo>
                <a:lnTo>
                  <a:pt x="905" y="139"/>
                </a:lnTo>
                <a:lnTo>
                  <a:pt x="905" y="156"/>
                </a:lnTo>
                <a:lnTo>
                  <a:pt x="851" y="156"/>
                </a:lnTo>
                <a:close/>
                <a:moveTo>
                  <a:pt x="782" y="156"/>
                </a:moveTo>
                <a:lnTo>
                  <a:pt x="836" y="156"/>
                </a:lnTo>
                <a:lnTo>
                  <a:pt x="836" y="139"/>
                </a:lnTo>
                <a:lnTo>
                  <a:pt x="800" y="139"/>
                </a:lnTo>
                <a:lnTo>
                  <a:pt x="800" y="127"/>
                </a:lnTo>
                <a:lnTo>
                  <a:pt x="830" y="127"/>
                </a:lnTo>
                <a:lnTo>
                  <a:pt x="830" y="111"/>
                </a:lnTo>
                <a:lnTo>
                  <a:pt x="800" y="111"/>
                </a:lnTo>
                <a:lnTo>
                  <a:pt x="800" y="99"/>
                </a:lnTo>
                <a:lnTo>
                  <a:pt x="835" y="99"/>
                </a:lnTo>
                <a:lnTo>
                  <a:pt x="835" y="82"/>
                </a:lnTo>
                <a:lnTo>
                  <a:pt x="782" y="82"/>
                </a:lnTo>
                <a:lnTo>
                  <a:pt x="782" y="156"/>
                </a:lnTo>
                <a:close/>
                <a:moveTo>
                  <a:pt x="696" y="120"/>
                </a:moveTo>
                <a:lnTo>
                  <a:pt x="696" y="120"/>
                </a:lnTo>
                <a:lnTo>
                  <a:pt x="697" y="111"/>
                </a:lnTo>
                <a:lnTo>
                  <a:pt x="699" y="104"/>
                </a:lnTo>
                <a:lnTo>
                  <a:pt x="702" y="96"/>
                </a:lnTo>
                <a:lnTo>
                  <a:pt x="707" y="91"/>
                </a:lnTo>
                <a:lnTo>
                  <a:pt x="712" y="86"/>
                </a:lnTo>
                <a:lnTo>
                  <a:pt x="718" y="83"/>
                </a:lnTo>
                <a:lnTo>
                  <a:pt x="725" y="81"/>
                </a:lnTo>
                <a:lnTo>
                  <a:pt x="733" y="80"/>
                </a:lnTo>
                <a:lnTo>
                  <a:pt x="739" y="81"/>
                </a:lnTo>
                <a:lnTo>
                  <a:pt x="745" y="82"/>
                </a:lnTo>
                <a:lnTo>
                  <a:pt x="750" y="84"/>
                </a:lnTo>
                <a:lnTo>
                  <a:pt x="754" y="86"/>
                </a:lnTo>
                <a:lnTo>
                  <a:pt x="758" y="90"/>
                </a:lnTo>
                <a:lnTo>
                  <a:pt x="761" y="94"/>
                </a:lnTo>
                <a:lnTo>
                  <a:pt x="765" y="100"/>
                </a:lnTo>
                <a:lnTo>
                  <a:pt x="766" y="106"/>
                </a:lnTo>
                <a:lnTo>
                  <a:pt x="746" y="106"/>
                </a:lnTo>
                <a:lnTo>
                  <a:pt x="744" y="101"/>
                </a:lnTo>
                <a:lnTo>
                  <a:pt x="741" y="99"/>
                </a:lnTo>
                <a:lnTo>
                  <a:pt x="737" y="96"/>
                </a:lnTo>
                <a:lnTo>
                  <a:pt x="733" y="96"/>
                </a:lnTo>
                <a:lnTo>
                  <a:pt x="730" y="96"/>
                </a:lnTo>
                <a:lnTo>
                  <a:pt x="726" y="99"/>
                </a:lnTo>
                <a:lnTo>
                  <a:pt x="724" y="101"/>
                </a:lnTo>
                <a:lnTo>
                  <a:pt x="720" y="103"/>
                </a:lnTo>
                <a:lnTo>
                  <a:pt x="719" y="106"/>
                </a:lnTo>
                <a:lnTo>
                  <a:pt x="717" y="110"/>
                </a:lnTo>
                <a:lnTo>
                  <a:pt x="716" y="120"/>
                </a:lnTo>
                <a:lnTo>
                  <a:pt x="717" y="129"/>
                </a:lnTo>
                <a:lnTo>
                  <a:pt x="719" y="132"/>
                </a:lnTo>
                <a:lnTo>
                  <a:pt x="721" y="136"/>
                </a:lnTo>
                <a:lnTo>
                  <a:pt x="724" y="138"/>
                </a:lnTo>
                <a:lnTo>
                  <a:pt x="727" y="140"/>
                </a:lnTo>
                <a:lnTo>
                  <a:pt x="730" y="143"/>
                </a:lnTo>
                <a:lnTo>
                  <a:pt x="734" y="143"/>
                </a:lnTo>
                <a:lnTo>
                  <a:pt x="741" y="142"/>
                </a:lnTo>
                <a:lnTo>
                  <a:pt x="747" y="139"/>
                </a:lnTo>
                <a:lnTo>
                  <a:pt x="747" y="129"/>
                </a:lnTo>
                <a:lnTo>
                  <a:pt x="734" y="129"/>
                </a:lnTo>
                <a:lnTo>
                  <a:pt x="734" y="115"/>
                </a:lnTo>
                <a:lnTo>
                  <a:pt x="766" y="115"/>
                </a:lnTo>
                <a:lnTo>
                  <a:pt x="766" y="148"/>
                </a:lnTo>
                <a:lnTo>
                  <a:pt x="758" y="153"/>
                </a:lnTo>
                <a:lnTo>
                  <a:pt x="751" y="156"/>
                </a:lnTo>
                <a:lnTo>
                  <a:pt x="742" y="158"/>
                </a:lnTo>
                <a:lnTo>
                  <a:pt x="736" y="159"/>
                </a:lnTo>
                <a:lnTo>
                  <a:pt x="727" y="158"/>
                </a:lnTo>
                <a:lnTo>
                  <a:pt x="719" y="156"/>
                </a:lnTo>
                <a:lnTo>
                  <a:pt x="712" y="153"/>
                </a:lnTo>
                <a:lnTo>
                  <a:pt x="707" y="149"/>
                </a:lnTo>
                <a:lnTo>
                  <a:pt x="702" y="143"/>
                </a:lnTo>
                <a:lnTo>
                  <a:pt x="699" y="136"/>
                </a:lnTo>
                <a:lnTo>
                  <a:pt x="697" y="128"/>
                </a:lnTo>
                <a:lnTo>
                  <a:pt x="696" y="120"/>
                </a:lnTo>
                <a:close/>
                <a:moveTo>
                  <a:pt x="644" y="130"/>
                </a:moveTo>
                <a:lnTo>
                  <a:pt x="654" y="102"/>
                </a:lnTo>
                <a:lnTo>
                  <a:pt x="663" y="130"/>
                </a:lnTo>
                <a:lnTo>
                  <a:pt x="644" y="130"/>
                </a:lnTo>
                <a:close/>
                <a:moveTo>
                  <a:pt x="615" y="156"/>
                </a:moveTo>
                <a:lnTo>
                  <a:pt x="636" y="156"/>
                </a:lnTo>
                <a:lnTo>
                  <a:pt x="639" y="145"/>
                </a:lnTo>
                <a:lnTo>
                  <a:pt x="669" y="145"/>
                </a:lnTo>
                <a:lnTo>
                  <a:pt x="673" y="156"/>
                </a:lnTo>
                <a:lnTo>
                  <a:pt x="693" y="156"/>
                </a:lnTo>
                <a:lnTo>
                  <a:pt x="664" y="82"/>
                </a:lnTo>
                <a:lnTo>
                  <a:pt x="643" y="82"/>
                </a:lnTo>
                <a:lnTo>
                  <a:pt x="615" y="156"/>
                </a:lnTo>
                <a:close/>
                <a:moveTo>
                  <a:pt x="541" y="156"/>
                </a:moveTo>
                <a:lnTo>
                  <a:pt x="559" y="156"/>
                </a:lnTo>
                <a:lnTo>
                  <a:pt x="559" y="112"/>
                </a:lnTo>
                <a:lnTo>
                  <a:pt x="585" y="156"/>
                </a:lnTo>
                <a:lnTo>
                  <a:pt x="606" y="156"/>
                </a:lnTo>
                <a:lnTo>
                  <a:pt x="606" y="82"/>
                </a:lnTo>
                <a:lnTo>
                  <a:pt x="587" y="82"/>
                </a:lnTo>
                <a:lnTo>
                  <a:pt x="587" y="126"/>
                </a:lnTo>
                <a:lnTo>
                  <a:pt x="561" y="82"/>
                </a:lnTo>
                <a:lnTo>
                  <a:pt x="541" y="82"/>
                </a:lnTo>
                <a:lnTo>
                  <a:pt x="541" y="156"/>
                </a:lnTo>
                <a:close/>
                <a:moveTo>
                  <a:pt x="457" y="127"/>
                </a:moveTo>
                <a:lnTo>
                  <a:pt x="457" y="117"/>
                </a:lnTo>
                <a:lnTo>
                  <a:pt x="486" y="117"/>
                </a:lnTo>
                <a:lnTo>
                  <a:pt x="486" y="87"/>
                </a:lnTo>
                <a:lnTo>
                  <a:pt x="498" y="87"/>
                </a:lnTo>
                <a:lnTo>
                  <a:pt x="498" y="117"/>
                </a:lnTo>
                <a:lnTo>
                  <a:pt x="527" y="117"/>
                </a:lnTo>
                <a:lnTo>
                  <a:pt x="527" y="127"/>
                </a:lnTo>
                <a:lnTo>
                  <a:pt x="498" y="127"/>
                </a:lnTo>
                <a:lnTo>
                  <a:pt x="498" y="156"/>
                </a:lnTo>
                <a:lnTo>
                  <a:pt x="486" y="156"/>
                </a:lnTo>
                <a:lnTo>
                  <a:pt x="486" y="127"/>
                </a:lnTo>
                <a:lnTo>
                  <a:pt x="457" y="127"/>
                </a:lnTo>
                <a:close/>
                <a:moveTo>
                  <a:pt x="392" y="156"/>
                </a:moveTo>
                <a:lnTo>
                  <a:pt x="448" y="156"/>
                </a:lnTo>
                <a:lnTo>
                  <a:pt x="448" y="139"/>
                </a:lnTo>
                <a:lnTo>
                  <a:pt x="411" y="139"/>
                </a:lnTo>
                <a:lnTo>
                  <a:pt x="411" y="127"/>
                </a:lnTo>
                <a:lnTo>
                  <a:pt x="442" y="127"/>
                </a:lnTo>
                <a:lnTo>
                  <a:pt x="442" y="111"/>
                </a:lnTo>
                <a:lnTo>
                  <a:pt x="411" y="111"/>
                </a:lnTo>
                <a:lnTo>
                  <a:pt x="411" y="99"/>
                </a:lnTo>
                <a:lnTo>
                  <a:pt x="446" y="99"/>
                </a:lnTo>
                <a:lnTo>
                  <a:pt x="446" y="82"/>
                </a:lnTo>
                <a:lnTo>
                  <a:pt x="392" y="82"/>
                </a:lnTo>
                <a:lnTo>
                  <a:pt x="392" y="156"/>
                </a:lnTo>
                <a:close/>
                <a:moveTo>
                  <a:pt x="309" y="156"/>
                </a:moveTo>
                <a:lnTo>
                  <a:pt x="328" y="156"/>
                </a:lnTo>
                <a:lnTo>
                  <a:pt x="328" y="112"/>
                </a:lnTo>
                <a:lnTo>
                  <a:pt x="354" y="156"/>
                </a:lnTo>
                <a:lnTo>
                  <a:pt x="374" y="156"/>
                </a:lnTo>
                <a:lnTo>
                  <a:pt x="374" y="82"/>
                </a:lnTo>
                <a:lnTo>
                  <a:pt x="356" y="82"/>
                </a:lnTo>
                <a:lnTo>
                  <a:pt x="356" y="126"/>
                </a:lnTo>
                <a:lnTo>
                  <a:pt x="329" y="82"/>
                </a:lnTo>
                <a:lnTo>
                  <a:pt x="309" y="82"/>
                </a:lnTo>
                <a:lnTo>
                  <a:pt x="309" y="156"/>
                </a:lnTo>
                <a:close/>
                <a:moveTo>
                  <a:pt x="226" y="156"/>
                </a:moveTo>
                <a:lnTo>
                  <a:pt x="246" y="156"/>
                </a:lnTo>
                <a:lnTo>
                  <a:pt x="246" y="128"/>
                </a:lnTo>
                <a:lnTo>
                  <a:pt x="272" y="128"/>
                </a:lnTo>
                <a:lnTo>
                  <a:pt x="272" y="156"/>
                </a:lnTo>
                <a:lnTo>
                  <a:pt x="292" y="156"/>
                </a:lnTo>
                <a:lnTo>
                  <a:pt x="292" y="82"/>
                </a:lnTo>
                <a:lnTo>
                  <a:pt x="272" y="82"/>
                </a:lnTo>
                <a:lnTo>
                  <a:pt x="272" y="110"/>
                </a:lnTo>
                <a:lnTo>
                  <a:pt x="246" y="110"/>
                </a:lnTo>
                <a:lnTo>
                  <a:pt x="246" y="82"/>
                </a:lnTo>
                <a:lnTo>
                  <a:pt x="226" y="82"/>
                </a:lnTo>
                <a:lnTo>
                  <a:pt x="226" y="156"/>
                </a:lnTo>
                <a:close/>
                <a:moveTo>
                  <a:pt x="155" y="156"/>
                </a:moveTo>
                <a:lnTo>
                  <a:pt x="211" y="156"/>
                </a:lnTo>
                <a:lnTo>
                  <a:pt x="211" y="139"/>
                </a:lnTo>
                <a:lnTo>
                  <a:pt x="174" y="139"/>
                </a:lnTo>
                <a:lnTo>
                  <a:pt x="174" y="127"/>
                </a:lnTo>
                <a:lnTo>
                  <a:pt x="205" y="127"/>
                </a:lnTo>
                <a:lnTo>
                  <a:pt x="205" y="111"/>
                </a:lnTo>
                <a:lnTo>
                  <a:pt x="174" y="111"/>
                </a:lnTo>
                <a:lnTo>
                  <a:pt x="174" y="99"/>
                </a:lnTo>
                <a:lnTo>
                  <a:pt x="209" y="99"/>
                </a:lnTo>
                <a:lnTo>
                  <a:pt x="209" y="82"/>
                </a:lnTo>
                <a:lnTo>
                  <a:pt x="155" y="82"/>
                </a:lnTo>
                <a:lnTo>
                  <a:pt x="155" y="156"/>
                </a:lnTo>
                <a:close/>
                <a:moveTo>
                  <a:pt x="74" y="126"/>
                </a:moveTo>
                <a:lnTo>
                  <a:pt x="74" y="126"/>
                </a:lnTo>
                <a:lnTo>
                  <a:pt x="74" y="134"/>
                </a:lnTo>
                <a:lnTo>
                  <a:pt x="76" y="142"/>
                </a:lnTo>
                <a:lnTo>
                  <a:pt x="79" y="147"/>
                </a:lnTo>
                <a:lnTo>
                  <a:pt x="83" y="151"/>
                </a:lnTo>
                <a:lnTo>
                  <a:pt x="89" y="155"/>
                </a:lnTo>
                <a:lnTo>
                  <a:pt x="94" y="157"/>
                </a:lnTo>
                <a:lnTo>
                  <a:pt x="99" y="158"/>
                </a:lnTo>
                <a:lnTo>
                  <a:pt x="107" y="159"/>
                </a:lnTo>
                <a:lnTo>
                  <a:pt x="113" y="158"/>
                </a:lnTo>
                <a:lnTo>
                  <a:pt x="118" y="157"/>
                </a:lnTo>
                <a:lnTo>
                  <a:pt x="124" y="155"/>
                </a:lnTo>
                <a:lnTo>
                  <a:pt x="129" y="151"/>
                </a:lnTo>
                <a:lnTo>
                  <a:pt x="133" y="147"/>
                </a:lnTo>
                <a:lnTo>
                  <a:pt x="136" y="142"/>
                </a:lnTo>
                <a:lnTo>
                  <a:pt x="138" y="134"/>
                </a:lnTo>
                <a:lnTo>
                  <a:pt x="138" y="126"/>
                </a:lnTo>
                <a:lnTo>
                  <a:pt x="138" y="82"/>
                </a:lnTo>
                <a:lnTo>
                  <a:pt x="118" y="82"/>
                </a:lnTo>
                <a:lnTo>
                  <a:pt x="118" y="129"/>
                </a:lnTo>
                <a:lnTo>
                  <a:pt x="117" y="134"/>
                </a:lnTo>
                <a:lnTo>
                  <a:pt x="115" y="138"/>
                </a:lnTo>
                <a:lnTo>
                  <a:pt x="112" y="142"/>
                </a:lnTo>
                <a:lnTo>
                  <a:pt x="107" y="142"/>
                </a:lnTo>
                <a:lnTo>
                  <a:pt x="100" y="142"/>
                </a:lnTo>
                <a:lnTo>
                  <a:pt x="97" y="138"/>
                </a:lnTo>
                <a:lnTo>
                  <a:pt x="94" y="134"/>
                </a:lnTo>
                <a:lnTo>
                  <a:pt x="94" y="129"/>
                </a:lnTo>
                <a:lnTo>
                  <a:pt x="94" y="82"/>
                </a:lnTo>
                <a:lnTo>
                  <a:pt x="74" y="82"/>
                </a:lnTo>
                <a:lnTo>
                  <a:pt x="74" y="126"/>
                </a:lnTo>
                <a:close/>
                <a:moveTo>
                  <a:pt x="0" y="156"/>
                </a:moveTo>
                <a:lnTo>
                  <a:pt x="20" y="156"/>
                </a:lnTo>
                <a:lnTo>
                  <a:pt x="20" y="135"/>
                </a:lnTo>
                <a:lnTo>
                  <a:pt x="26" y="127"/>
                </a:lnTo>
                <a:lnTo>
                  <a:pt x="43" y="156"/>
                </a:lnTo>
                <a:lnTo>
                  <a:pt x="66" y="156"/>
                </a:lnTo>
                <a:lnTo>
                  <a:pt x="40" y="112"/>
                </a:lnTo>
                <a:lnTo>
                  <a:pt x="63" y="82"/>
                </a:lnTo>
                <a:lnTo>
                  <a:pt x="40" y="82"/>
                </a:lnTo>
                <a:lnTo>
                  <a:pt x="20" y="109"/>
                </a:lnTo>
                <a:lnTo>
                  <a:pt x="20" y="82"/>
                </a:lnTo>
                <a:lnTo>
                  <a:pt x="0" y="82"/>
                </a:lnTo>
                <a:lnTo>
                  <a:pt x="0" y="1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Text Placeholder 2"/>
          <p:cNvSpPr>
            <a:spLocks noGrp="1"/>
          </p:cNvSpPr>
          <p:nvPr>
            <p:ph type="body" sz="quarter" idx="14"/>
          </p:nvPr>
        </p:nvSpPr>
        <p:spPr>
          <a:xfrm>
            <a:off x="550865" y="1989139"/>
            <a:ext cx="5545136" cy="4319588"/>
          </a:xfrm>
          <a:prstGeom prst="rect">
            <a:avLst/>
          </a:prstGeom>
        </p:spPr>
        <p:txBody>
          <a:bodyPr>
            <a:noAutofit/>
          </a:bodyPr>
          <a:lstStyle>
            <a:lvl1pPr marL="0" indent="0">
              <a:lnSpc>
                <a:spcPct val="100000"/>
              </a:lnSpc>
              <a:spcBef>
                <a:spcPts val="0"/>
              </a:spcBef>
              <a:spcAft>
                <a:spcPts val="1200"/>
              </a:spcAft>
              <a:buNone/>
              <a:defRPr sz="1800" b="0">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8" name="Titel 4"/>
          <p:cNvSpPr>
            <a:spLocks noGrp="1"/>
          </p:cNvSpPr>
          <p:nvPr>
            <p:ph type="title"/>
          </p:nvPr>
        </p:nvSpPr>
        <p:spPr>
          <a:xfrm>
            <a:off x="553321" y="550779"/>
            <a:ext cx="5542679" cy="864000"/>
          </a:xfrm>
        </p:spPr>
        <p:txBody>
          <a:bodyPr/>
          <a:lstStyle/>
          <a:p>
            <a:pPr lvl="0"/>
            <a:r>
              <a:rPr lang="en-US" noProof="0"/>
              <a:t>Click to edit Master title style</a:t>
            </a:r>
            <a:endParaRPr lang="de-DE" dirty="0"/>
          </a:p>
        </p:txBody>
      </p:sp>
      <p:sp>
        <p:nvSpPr>
          <p:cNvPr id="4" name="Slide Number Placeholder 3">
            <a:extLst>
              <a:ext uri="{FF2B5EF4-FFF2-40B4-BE49-F238E27FC236}">
                <a16:creationId xmlns:a16="http://schemas.microsoft.com/office/drawing/2014/main" id="{50D07F96-568C-73AC-F707-3CED8456DED9}"/>
              </a:ext>
            </a:extLst>
          </p:cNvPr>
          <p:cNvSpPr>
            <a:spLocks noGrp="1"/>
          </p:cNvSpPr>
          <p:nvPr>
            <p:ph type="sldNum" sz="quarter" idx="15"/>
          </p:nvPr>
        </p:nvSpPr>
        <p:spPr/>
        <p:txBody>
          <a:bodyPr/>
          <a:lstStyle>
            <a:lvl1pPr algn="r">
              <a:defRPr sz="1000">
                <a:solidFill>
                  <a:schemeClr val="bg1"/>
                </a:solidFill>
              </a:defRPr>
            </a:lvl1pPr>
          </a:lstStyle>
          <a:p>
            <a:pPr>
              <a:defRPr/>
            </a:pPr>
            <a:fld id="{FFAFD770-0F69-4E5F-A847-20F421936461}" type="slidenum">
              <a:rPr lang="en-GB"/>
              <a:pPr>
                <a:defRPr/>
              </a:pPr>
              <a:t>‹#›</a:t>
            </a:fld>
            <a:endParaRPr lang="en-GB" dirty="0"/>
          </a:p>
        </p:txBody>
      </p:sp>
    </p:spTree>
    <p:extLst>
      <p:ext uri="{BB962C8B-B14F-4D97-AF65-F5344CB8AC3E}">
        <p14:creationId xmlns:p14="http://schemas.microsoft.com/office/powerpoint/2010/main" val="2281719812"/>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ard_Textbox+grey_pane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5F9B106-73E0-1085-CA8C-8D8D60B7A7C9}"/>
              </a:ext>
            </a:extLst>
          </p:cNvPr>
          <p:cNvSpPr/>
          <p:nvPr/>
        </p:nvSpPr>
        <p:spPr>
          <a:xfrm>
            <a:off x="7481888" y="0"/>
            <a:ext cx="470376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11" name="Text Placeholder 2"/>
          <p:cNvSpPr>
            <a:spLocks noGrp="1"/>
          </p:cNvSpPr>
          <p:nvPr>
            <p:ph type="body" sz="quarter" idx="14"/>
          </p:nvPr>
        </p:nvSpPr>
        <p:spPr>
          <a:xfrm>
            <a:off x="550865" y="1989139"/>
            <a:ext cx="5545136" cy="4319588"/>
          </a:xfrm>
          <a:prstGeom prst="rect">
            <a:avLst/>
          </a:prstGeom>
        </p:spPr>
        <p:txBody>
          <a:bodyPr>
            <a:noAutofit/>
          </a:bodyPr>
          <a:lstStyle>
            <a:lvl1pPr marL="0" indent="0">
              <a:lnSpc>
                <a:spcPct val="100000"/>
              </a:lnSpc>
              <a:spcBef>
                <a:spcPts val="0"/>
              </a:spcBef>
              <a:spcAft>
                <a:spcPts val="1200"/>
              </a:spcAft>
              <a:buNone/>
              <a:defRPr sz="1800" b="0" baseline="0">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2"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9" name="Titel 4"/>
          <p:cNvSpPr>
            <a:spLocks noGrp="1"/>
          </p:cNvSpPr>
          <p:nvPr>
            <p:ph type="title"/>
          </p:nvPr>
        </p:nvSpPr>
        <p:spPr>
          <a:xfrm>
            <a:off x="553321" y="550779"/>
            <a:ext cx="5542679" cy="864000"/>
          </a:xfrm>
        </p:spPr>
        <p:txBody>
          <a:bodyPr/>
          <a:lstStyle/>
          <a:p>
            <a:pPr lvl="0"/>
            <a:r>
              <a:rPr lang="en-US" noProof="0"/>
              <a:t>Click to edit Master title style</a:t>
            </a:r>
            <a:endParaRPr lang="de-DE" dirty="0"/>
          </a:p>
        </p:txBody>
      </p:sp>
      <p:sp>
        <p:nvSpPr>
          <p:cNvPr id="3" name="Slide Number Placeholder 3">
            <a:extLst>
              <a:ext uri="{FF2B5EF4-FFF2-40B4-BE49-F238E27FC236}">
                <a16:creationId xmlns:a16="http://schemas.microsoft.com/office/drawing/2014/main" id="{44C05A21-93EE-4A99-A988-94C08A627D85}"/>
              </a:ext>
            </a:extLst>
          </p:cNvPr>
          <p:cNvSpPr>
            <a:spLocks noGrp="1"/>
          </p:cNvSpPr>
          <p:nvPr>
            <p:ph type="sldNum" sz="quarter" idx="17"/>
          </p:nvPr>
        </p:nvSpPr>
        <p:spPr/>
        <p:txBody>
          <a:bodyPr/>
          <a:lstStyle>
            <a:lvl1pPr algn="r">
              <a:defRPr sz="1000">
                <a:solidFill>
                  <a:srgbClr val="000000"/>
                </a:solidFill>
              </a:defRPr>
            </a:lvl1pPr>
          </a:lstStyle>
          <a:p>
            <a:pPr>
              <a:defRPr/>
            </a:pPr>
            <a:fld id="{764470E9-2A87-47AA-8065-5025ADE112E8}" type="slidenum">
              <a:rPr lang="en-GB"/>
              <a:pPr>
                <a:defRPr/>
              </a:pPr>
              <a:t>‹#›</a:t>
            </a:fld>
            <a:endParaRPr lang="en-GB" dirty="0"/>
          </a:p>
        </p:txBody>
      </p:sp>
    </p:spTree>
    <p:extLst>
      <p:ext uri="{BB962C8B-B14F-4D97-AF65-F5344CB8AC3E}">
        <p14:creationId xmlns:p14="http://schemas.microsoft.com/office/powerpoint/2010/main" val="295226362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_slide_blue_V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1EDD116-E587-7FEA-2144-59C0825C9124}"/>
              </a:ext>
            </a:extLst>
          </p:cNvPr>
          <p:cNvSpPr/>
          <p:nvPr/>
        </p:nvSpPr>
        <p:spPr>
          <a:xfrm>
            <a:off x="0" y="1609725"/>
            <a:ext cx="12192000" cy="52562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5">
            <a:extLst>
              <a:ext uri="{FF2B5EF4-FFF2-40B4-BE49-F238E27FC236}">
                <a16:creationId xmlns:a16="http://schemas.microsoft.com/office/drawing/2014/main" id="{47D2BA8B-4E24-D5F3-2D95-A4AB720E2412}"/>
              </a:ext>
            </a:extLst>
          </p:cNvPr>
          <p:cNvSpPr>
            <a:spLocks noEditPoints="1"/>
          </p:cNvSpPr>
          <p:nvPr/>
        </p:nvSpPr>
        <p:spPr bwMode="auto">
          <a:xfrm>
            <a:off x="8850313" y="568325"/>
            <a:ext cx="2767012" cy="554038"/>
          </a:xfrm>
          <a:custGeom>
            <a:avLst/>
            <a:gdLst>
              <a:gd name="T0" fmla="*/ 2486025 w 1743"/>
              <a:gd name="T1" fmla="*/ 163513 h 349"/>
              <a:gd name="T2" fmla="*/ 2508250 w 1743"/>
              <a:gd name="T3" fmla="*/ 209550 h 349"/>
              <a:gd name="T4" fmla="*/ 2459037 w 1743"/>
              <a:gd name="T5" fmla="*/ 188913 h 349"/>
              <a:gd name="T6" fmla="*/ 2390775 w 1743"/>
              <a:gd name="T7" fmla="*/ 536575 h 349"/>
              <a:gd name="T8" fmla="*/ 2538412 w 1743"/>
              <a:gd name="T9" fmla="*/ 549275 h 349"/>
              <a:gd name="T10" fmla="*/ 2630487 w 1743"/>
              <a:gd name="T11" fmla="*/ 452438 h 349"/>
              <a:gd name="T12" fmla="*/ 2559050 w 1743"/>
              <a:gd name="T13" fmla="*/ 311150 h 349"/>
              <a:gd name="T14" fmla="*/ 2547937 w 1743"/>
              <a:gd name="T15" fmla="*/ 209550 h 349"/>
              <a:gd name="T16" fmla="*/ 2532062 w 1743"/>
              <a:gd name="T17" fmla="*/ 146050 h 349"/>
              <a:gd name="T18" fmla="*/ 2462212 w 1743"/>
              <a:gd name="T19" fmla="*/ 133350 h 349"/>
              <a:gd name="T20" fmla="*/ 2422525 w 1743"/>
              <a:gd name="T21" fmla="*/ 188913 h 349"/>
              <a:gd name="T22" fmla="*/ 2416175 w 1743"/>
              <a:gd name="T23" fmla="*/ 274638 h 349"/>
              <a:gd name="T24" fmla="*/ 2368550 w 1743"/>
              <a:gd name="T25" fmla="*/ 471488 h 349"/>
              <a:gd name="T26" fmla="*/ 2220912 w 1743"/>
              <a:gd name="T27" fmla="*/ 193675 h 349"/>
              <a:gd name="T28" fmla="*/ 2332037 w 1743"/>
              <a:gd name="T29" fmla="*/ 49213 h 349"/>
              <a:gd name="T30" fmla="*/ 2489200 w 1743"/>
              <a:gd name="T31" fmla="*/ 0 h 349"/>
              <a:gd name="T32" fmla="*/ 2663825 w 1743"/>
              <a:gd name="T33" fmla="*/ 63500 h 349"/>
              <a:gd name="T34" fmla="*/ 2762250 w 1743"/>
              <a:gd name="T35" fmla="*/ 219075 h 349"/>
              <a:gd name="T36" fmla="*/ 2747962 w 1743"/>
              <a:gd name="T37" fmla="*/ 371475 h 349"/>
              <a:gd name="T38" fmla="*/ 2674937 w 1743"/>
              <a:gd name="T39" fmla="*/ 403225 h 349"/>
              <a:gd name="T40" fmla="*/ 2716212 w 1743"/>
              <a:gd name="T41" fmla="*/ 274638 h 349"/>
              <a:gd name="T42" fmla="*/ 2676525 w 1743"/>
              <a:gd name="T43" fmla="*/ 147638 h 349"/>
              <a:gd name="T44" fmla="*/ 2554287 w 1743"/>
              <a:gd name="T45" fmla="*/ 58738 h 349"/>
              <a:gd name="T46" fmla="*/ 2420937 w 1743"/>
              <a:gd name="T47" fmla="*/ 58738 h 349"/>
              <a:gd name="T48" fmla="*/ 2300287 w 1743"/>
              <a:gd name="T49" fmla="*/ 147638 h 349"/>
              <a:gd name="T50" fmla="*/ 2262187 w 1743"/>
              <a:gd name="T51" fmla="*/ 274638 h 349"/>
              <a:gd name="T52" fmla="*/ 2300287 w 1743"/>
              <a:gd name="T53" fmla="*/ 403225 h 349"/>
              <a:gd name="T54" fmla="*/ 2227262 w 1743"/>
              <a:gd name="T55" fmla="*/ 371475 h 349"/>
              <a:gd name="T56" fmla="*/ 1968500 w 1743"/>
              <a:gd name="T57" fmla="*/ 188913 h 349"/>
              <a:gd name="T58" fmla="*/ 1935162 w 1743"/>
              <a:gd name="T59" fmla="*/ 361950 h 349"/>
              <a:gd name="T60" fmla="*/ 1852612 w 1743"/>
              <a:gd name="T61" fmla="*/ 228600 h 349"/>
              <a:gd name="T62" fmla="*/ 1612900 w 1743"/>
              <a:gd name="T63" fmla="*/ 257175 h 349"/>
              <a:gd name="T64" fmla="*/ 1695450 w 1743"/>
              <a:gd name="T65" fmla="*/ 184150 h 349"/>
              <a:gd name="T66" fmla="*/ 1762125 w 1743"/>
              <a:gd name="T67" fmla="*/ 219075 h 349"/>
              <a:gd name="T68" fmla="*/ 1704975 w 1743"/>
              <a:gd name="T69" fmla="*/ 223838 h 349"/>
              <a:gd name="T70" fmla="*/ 1663700 w 1743"/>
              <a:gd name="T71" fmla="*/ 246063 h 349"/>
              <a:gd name="T72" fmla="*/ 1673225 w 1743"/>
              <a:gd name="T73" fmla="*/ 320675 h 349"/>
              <a:gd name="T74" fmla="*/ 1727200 w 1743"/>
              <a:gd name="T75" fmla="*/ 298450 h 349"/>
              <a:gd name="T76" fmla="*/ 1736725 w 1743"/>
              <a:gd name="T77" fmla="*/ 361950 h 349"/>
              <a:gd name="T78" fmla="*/ 1635125 w 1743"/>
              <a:gd name="T79" fmla="*/ 344488 h 349"/>
              <a:gd name="T80" fmla="*/ 1512887 w 1743"/>
              <a:gd name="T81" fmla="*/ 234950 h 349"/>
              <a:gd name="T82" fmla="*/ 1557337 w 1743"/>
              <a:gd name="T83" fmla="*/ 361950 h 349"/>
              <a:gd name="T84" fmla="*/ 1293812 w 1743"/>
              <a:gd name="T85" fmla="*/ 260350 h 349"/>
              <a:gd name="T86" fmla="*/ 1252537 w 1743"/>
              <a:gd name="T87" fmla="*/ 188913 h 349"/>
              <a:gd name="T88" fmla="*/ 1150937 w 1743"/>
              <a:gd name="T89" fmla="*/ 271463 h 349"/>
              <a:gd name="T90" fmla="*/ 1057275 w 1743"/>
              <a:gd name="T91" fmla="*/ 293688 h 349"/>
              <a:gd name="T92" fmla="*/ 1022350 w 1743"/>
              <a:gd name="T93" fmla="*/ 257175 h 349"/>
              <a:gd name="T94" fmla="*/ 714375 w 1743"/>
              <a:gd name="T95" fmla="*/ 361950 h 349"/>
              <a:gd name="T96" fmla="*/ 825500 w 1743"/>
              <a:gd name="T97" fmla="*/ 292100 h 349"/>
              <a:gd name="T98" fmla="*/ 630237 w 1743"/>
              <a:gd name="T99" fmla="*/ 296863 h 349"/>
              <a:gd name="T100" fmla="*/ 568325 w 1743"/>
              <a:gd name="T101" fmla="*/ 188913 h 349"/>
              <a:gd name="T102" fmla="*/ 403225 w 1743"/>
              <a:gd name="T103" fmla="*/ 293688 h 349"/>
              <a:gd name="T104" fmla="*/ 358775 w 1743"/>
              <a:gd name="T105" fmla="*/ 188913 h 349"/>
              <a:gd name="T106" fmla="*/ 192087 w 1743"/>
              <a:gd name="T107" fmla="*/ 349250 h 349"/>
              <a:gd name="T108" fmla="*/ 273050 w 1743"/>
              <a:gd name="T109" fmla="*/ 365125 h 349"/>
              <a:gd name="T110" fmla="*/ 319087 w 1743"/>
              <a:gd name="T111" fmla="*/ 188913 h 349"/>
              <a:gd name="T112" fmla="*/ 246062 w 1743"/>
              <a:gd name="T113" fmla="*/ 328613 h 349"/>
              <a:gd name="T114" fmla="*/ 171450 w 1743"/>
              <a:gd name="T115" fmla="*/ 188913 h 349"/>
              <a:gd name="T116" fmla="*/ 153987 w 1743"/>
              <a:gd name="T117" fmla="*/ 361950 h 349"/>
              <a:gd name="T118" fmla="*/ 0 w 1743"/>
              <a:gd name="T119" fmla="*/ 361950 h 3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743" h="349">
                <a:moveTo>
                  <a:pt x="1549" y="119"/>
                </a:moveTo>
                <a:lnTo>
                  <a:pt x="1549" y="119"/>
                </a:lnTo>
                <a:lnTo>
                  <a:pt x="1551" y="113"/>
                </a:lnTo>
                <a:lnTo>
                  <a:pt x="1554" y="107"/>
                </a:lnTo>
                <a:lnTo>
                  <a:pt x="1560" y="104"/>
                </a:lnTo>
                <a:lnTo>
                  <a:pt x="1566" y="103"/>
                </a:lnTo>
                <a:lnTo>
                  <a:pt x="1574" y="104"/>
                </a:lnTo>
                <a:lnTo>
                  <a:pt x="1580" y="107"/>
                </a:lnTo>
                <a:lnTo>
                  <a:pt x="1583" y="113"/>
                </a:lnTo>
                <a:lnTo>
                  <a:pt x="1585" y="119"/>
                </a:lnTo>
                <a:lnTo>
                  <a:pt x="1583" y="127"/>
                </a:lnTo>
                <a:lnTo>
                  <a:pt x="1580" y="132"/>
                </a:lnTo>
                <a:lnTo>
                  <a:pt x="1574" y="136"/>
                </a:lnTo>
                <a:lnTo>
                  <a:pt x="1566" y="138"/>
                </a:lnTo>
                <a:lnTo>
                  <a:pt x="1560" y="136"/>
                </a:lnTo>
                <a:lnTo>
                  <a:pt x="1554" y="132"/>
                </a:lnTo>
                <a:lnTo>
                  <a:pt x="1551" y="127"/>
                </a:lnTo>
                <a:lnTo>
                  <a:pt x="1549" y="119"/>
                </a:lnTo>
                <a:close/>
                <a:moveTo>
                  <a:pt x="1454" y="308"/>
                </a:moveTo>
                <a:lnTo>
                  <a:pt x="1454" y="308"/>
                </a:lnTo>
                <a:lnTo>
                  <a:pt x="1466" y="317"/>
                </a:lnTo>
                <a:lnTo>
                  <a:pt x="1479" y="325"/>
                </a:lnTo>
                <a:lnTo>
                  <a:pt x="1492" y="332"/>
                </a:lnTo>
                <a:lnTo>
                  <a:pt x="1506" y="338"/>
                </a:lnTo>
                <a:lnTo>
                  <a:pt x="1522" y="343"/>
                </a:lnTo>
                <a:lnTo>
                  <a:pt x="1536" y="346"/>
                </a:lnTo>
                <a:lnTo>
                  <a:pt x="1551" y="347"/>
                </a:lnTo>
                <a:lnTo>
                  <a:pt x="1568" y="349"/>
                </a:lnTo>
                <a:lnTo>
                  <a:pt x="1583" y="347"/>
                </a:lnTo>
                <a:lnTo>
                  <a:pt x="1599" y="346"/>
                </a:lnTo>
                <a:lnTo>
                  <a:pt x="1612" y="343"/>
                </a:lnTo>
                <a:lnTo>
                  <a:pt x="1628" y="338"/>
                </a:lnTo>
                <a:lnTo>
                  <a:pt x="1642" y="332"/>
                </a:lnTo>
                <a:lnTo>
                  <a:pt x="1655" y="325"/>
                </a:lnTo>
                <a:lnTo>
                  <a:pt x="1668" y="317"/>
                </a:lnTo>
                <a:lnTo>
                  <a:pt x="1680" y="308"/>
                </a:lnTo>
                <a:lnTo>
                  <a:pt x="1657" y="285"/>
                </a:lnTo>
                <a:lnTo>
                  <a:pt x="1642" y="297"/>
                </a:lnTo>
                <a:lnTo>
                  <a:pt x="1623" y="308"/>
                </a:lnTo>
                <a:lnTo>
                  <a:pt x="1603" y="315"/>
                </a:lnTo>
                <a:lnTo>
                  <a:pt x="1583" y="318"/>
                </a:lnTo>
                <a:lnTo>
                  <a:pt x="1583" y="196"/>
                </a:lnTo>
                <a:lnTo>
                  <a:pt x="1612" y="196"/>
                </a:lnTo>
                <a:lnTo>
                  <a:pt x="1612" y="173"/>
                </a:lnTo>
                <a:lnTo>
                  <a:pt x="1583" y="173"/>
                </a:lnTo>
                <a:lnTo>
                  <a:pt x="1583" y="155"/>
                </a:lnTo>
                <a:lnTo>
                  <a:pt x="1592" y="150"/>
                </a:lnTo>
                <a:lnTo>
                  <a:pt x="1600" y="142"/>
                </a:lnTo>
                <a:lnTo>
                  <a:pt x="1605" y="132"/>
                </a:lnTo>
                <a:lnTo>
                  <a:pt x="1606" y="126"/>
                </a:lnTo>
                <a:lnTo>
                  <a:pt x="1608" y="119"/>
                </a:lnTo>
                <a:lnTo>
                  <a:pt x="1606" y="112"/>
                </a:lnTo>
                <a:lnTo>
                  <a:pt x="1605" y="104"/>
                </a:lnTo>
                <a:lnTo>
                  <a:pt x="1600" y="98"/>
                </a:lnTo>
                <a:lnTo>
                  <a:pt x="1595" y="92"/>
                </a:lnTo>
                <a:lnTo>
                  <a:pt x="1589" y="87"/>
                </a:lnTo>
                <a:lnTo>
                  <a:pt x="1583" y="84"/>
                </a:lnTo>
                <a:lnTo>
                  <a:pt x="1575" y="81"/>
                </a:lnTo>
                <a:lnTo>
                  <a:pt x="1568" y="81"/>
                </a:lnTo>
                <a:lnTo>
                  <a:pt x="1559" y="81"/>
                </a:lnTo>
                <a:lnTo>
                  <a:pt x="1551" y="84"/>
                </a:lnTo>
                <a:lnTo>
                  <a:pt x="1545" y="87"/>
                </a:lnTo>
                <a:lnTo>
                  <a:pt x="1539" y="92"/>
                </a:lnTo>
                <a:lnTo>
                  <a:pt x="1534" y="98"/>
                </a:lnTo>
                <a:lnTo>
                  <a:pt x="1529" y="104"/>
                </a:lnTo>
                <a:lnTo>
                  <a:pt x="1528" y="112"/>
                </a:lnTo>
                <a:lnTo>
                  <a:pt x="1526" y="119"/>
                </a:lnTo>
                <a:lnTo>
                  <a:pt x="1528" y="126"/>
                </a:lnTo>
                <a:lnTo>
                  <a:pt x="1529" y="132"/>
                </a:lnTo>
                <a:lnTo>
                  <a:pt x="1534" y="142"/>
                </a:lnTo>
                <a:lnTo>
                  <a:pt x="1542" y="150"/>
                </a:lnTo>
                <a:lnTo>
                  <a:pt x="1551" y="155"/>
                </a:lnTo>
                <a:lnTo>
                  <a:pt x="1551" y="173"/>
                </a:lnTo>
                <a:lnTo>
                  <a:pt x="1522" y="173"/>
                </a:lnTo>
                <a:lnTo>
                  <a:pt x="1522" y="196"/>
                </a:lnTo>
                <a:lnTo>
                  <a:pt x="1551" y="196"/>
                </a:lnTo>
                <a:lnTo>
                  <a:pt x="1551" y="318"/>
                </a:lnTo>
                <a:lnTo>
                  <a:pt x="1531" y="315"/>
                </a:lnTo>
                <a:lnTo>
                  <a:pt x="1511" y="308"/>
                </a:lnTo>
                <a:lnTo>
                  <a:pt x="1492" y="297"/>
                </a:lnTo>
                <a:lnTo>
                  <a:pt x="1477" y="285"/>
                </a:lnTo>
                <a:lnTo>
                  <a:pt x="1454" y="308"/>
                </a:lnTo>
                <a:close/>
                <a:moveTo>
                  <a:pt x="1391" y="173"/>
                </a:moveTo>
                <a:lnTo>
                  <a:pt x="1391" y="173"/>
                </a:lnTo>
                <a:lnTo>
                  <a:pt x="1393" y="156"/>
                </a:lnTo>
                <a:lnTo>
                  <a:pt x="1396" y="138"/>
                </a:lnTo>
                <a:lnTo>
                  <a:pt x="1399" y="122"/>
                </a:lnTo>
                <a:lnTo>
                  <a:pt x="1405" y="106"/>
                </a:lnTo>
                <a:lnTo>
                  <a:pt x="1413" y="90"/>
                </a:lnTo>
                <a:lnTo>
                  <a:pt x="1422" y="77"/>
                </a:lnTo>
                <a:lnTo>
                  <a:pt x="1431" y="63"/>
                </a:lnTo>
                <a:lnTo>
                  <a:pt x="1443" y="51"/>
                </a:lnTo>
                <a:lnTo>
                  <a:pt x="1456" y="40"/>
                </a:lnTo>
                <a:lnTo>
                  <a:pt x="1469" y="31"/>
                </a:lnTo>
                <a:lnTo>
                  <a:pt x="1483" y="21"/>
                </a:lnTo>
                <a:lnTo>
                  <a:pt x="1499" y="14"/>
                </a:lnTo>
                <a:lnTo>
                  <a:pt x="1516" y="8"/>
                </a:lnTo>
                <a:lnTo>
                  <a:pt x="1532" y="5"/>
                </a:lnTo>
                <a:lnTo>
                  <a:pt x="1549" y="2"/>
                </a:lnTo>
                <a:lnTo>
                  <a:pt x="1568" y="0"/>
                </a:lnTo>
                <a:lnTo>
                  <a:pt x="1585" y="2"/>
                </a:lnTo>
                <a:lnTo>
                  <a:pt x="1603" y="5"/>
                </a:lnTo>
                <a:lnTo>
                  <a:pt x="1619" y="8"/>
                </a:lnTo>
                <a:lnTo>
                  <a:pt x="1635" y="14"/>
                </a:lnTo>
                <a:lnTo>
                  <a:pt x="1651" y="21"/>
                </a:lnTo>
                <a:lnTo>
                  <a:pt x="1665" y="31"/>
                </a:lnTo>
                <a:lnTo>
                  <a:pt x="1678" y="40"/>
                </a:lnTo>
                <a:lnTo>
                  <a:pt x="1691" y="51"/>
                </a:lnTo>
                <a:lnTo>
                  <a:pt x="1703" y="63"/>
                </a:lnTo>
                <a:lnTo>
                  <a:pt x="1712" y="77"/>
                </a:lnTo>
                <a:lnTo>
                  <a:pt x="1721" y="90"/>
                </a:lnTo>
                <a:lnTo>
                  <a:pt x="1729" y="106"/>
                </a:lnTo>
                <a:lnTo>
                  <a:pt x="1735" y="122"/>
                </a:lnTo>
                <a:lnTo>
                  <a:pt x="1740" y="138"/>
                </a:lnTo>
                <a:lnTo>
                  <a:pt x="1741" y="156"/>
                </a:lnTo>
                <a:lnTo>
                  <a:pt x="1743" y="173"/>
                </a:lnTo>
                <a:lnTo>
                  <a:pt x="1741" y="190"/>
                </a:lnTo>
                <a:lnTo>
                  <a:pt x="1740" y="205"/>
                </a:lnTo>
                <a:lnTo>
                  <a:pt x="1737" y="220"/>
                </a:lnTo>
                <a:lnTo>
                  <a:pt x="1731" y="234"/>
                </a:lnTo>
                <a:lnTo>
                  <a:pt x="1726" y="250"/>
                </a:lnTo>
                <a:lnTo>
                  <a:pt x="1718" y="262"/>
                </a:lnTo>
                <a:lnTo>
                  <a:pt x="1709" y="276"/>
                </a:lnTo>
                <a:lnTo>
                  <a:pt x="1700" y="288"/>
                </a:lnTo>
                <a:lnTo>
                  <a:pt x="1677" y="265"/>
                </a:lnTo>
                <a:lnTo>
                  <a:pt x="1685" y="254"/>
                </a:lnTo>
                <a:lnTo>
                  <a:pt x="1691" y="243"/>
                </a:lnTo>
                <a:lnTo>
                  <a:pt x="1697" y="233"/>
                </a:lnTo>
                <a:lnTo>
                  <a:pt x="1702" y="222"/>
                </a:lnTo>
                <a:lnTo>
                  <a:pt x="1705" y="210"/>
                </a:lnTo>
                <a:lnTo>
                  <a:pt x="1708" y="197"/>
                </a:lnTo>
                <a:lnTo>
                  <a:pt x="1709" y="185"/>
                </a:lnTo>
                <a:lnTo>
                  <a:pt x="1711" y="173"/>
                </a:lnTo>
                <a:lnTo>
                  <a:pt x="1709" y="159"/>
                </a:lnTo>
                <a:lnTo>
                  <a:pt x="1708" y="145"/>
                </a:lnTo>
                <a:lnTo>
                  <a:pt x="1703" y="132"/>
                </a:lnTo>
                <a:lnTo>
                  <a:pt x="1698" y="118"/>
                </a:lnTo>
                <a:lnTo>
                  <a:pt x="1692" y="106"/>
                </a:lnTo>
                <a:lnTo>
                  <a:pt x="1686" y="93"/>
                </a:lnTo>
                <a:lnTo>
                  <a:pt x="1677" y="83"/>
                </a:lnTo>
                <a:lnTo>
                  <a:pt x="1668" y="72"/>
                </a:lnTo>
                <a:lnTo>
                  <a:pt x="1658" y="63"/>
                </a:lnTo>
                <a:lnTo>
                  <a:pt x="1646" y="55"/>
                </a:lnTo>
                <a:lnTo>
                  <a:pt x="1635" y="47"/>
                </a:lnTo>
                <a:lnTo>
                  <a:pt x="1623" y="41"/>
                </a:lnTo>
                <a:lnTo>
                  <a:pt x="1609" y="37"/>
                </a:lnTo>
                <a:lnTo>
                  <a:pt x="1595" y="34"/>
                </a:lnTo>
                <a:lnTo>
                  <a:pt x="1582" y="31"/>
                </a:lnTo>
                <a:lnTo>
                  <a:pt x="1568" y="31"/>
                </a:lnTo>
                <a:lnTo>
                  <a:pt x="1552" y="31"/>
                </a:lnTo>
                <a:lnTo>
                  <a:pt x="1539" y="34"/>
                </a:lnTo>
                <a:lnTo>
                  <a:pt x="1525" y="37"/>
                </a:lnTo>
                <a:lnTo>
                  <a:pt x="1511" y="41"/>
                </a:lnTo>
                <a:lnTo>
                  <a:pt x="1499" y="47"/>
                </a:lnTo>
                <a:lnTo>
                  <a:pt x="1488" y="55"/>
                </a:lnTo>
                <a:lnTo>
                  <a:pt x="1477" y="63"/>
                </a:lnTo>
                <a:lnTo>
                  <a:pt x="1466" y="72"/>
                </a:lnTo>
                <a:lnTo>
                  <a:pt x="1457" y="83"/>
                </a:lnTo>
                <a:lnTo>
                  <a:pt x="1449" y="93"/>
                </a:lnTo>
                <a:lnTo>
                  <a:pt x="1442" y="106"/>
                </a:lnTo>
                <a:lnTo>
                  <a:pt x="1436" y="118"/>
                </a:lnTo>
                <a:lnTo>
                  <a:pt x="1431" y="132"/>
                </a:lnTo>
                <a:lnTo>
                  <a:pt x="1426" y="145"/>
                </a:lnTo>
                <a:lnTo>
                  <a:pt x="1425" y="159"/>
                </a:lnTo>
                <a:lnTo>
                  <a:pt x="1425" y="173"/>
                </a:lnTo>
                <a:lnTo>
                  <a:pt x="1425" y="185"/>
                </a:lnTo>
                <a:lnTo>
                  <a:pt x="1426" y="197"/>
                </a:lnTo>
                <a:lnTo>
                  <a:pt x="1429" y="210"/>
                </a:lnTo>
                <a:lnTo>
                  <a:pt x="1433" y="222"/>
                </a:lnTo>
                <a:lnTo>
                  <a:pt x="1437" y="233"/>
                </a:lnTo>
                <a:lnTo>
                  <a:pt x="1443" y="243"/>
                </a:lnTo>
                <a:lnTo>
                  <a:pt x="1449" y="254"/>
                </a:lnTo>
                <a:lnTo>
                  <a:pt x="1457" y="265"/>
                </a:lnTo>
                <a:lnTo>
                  <a:pt x="1434" y="288"/>
                </a:lnTo>
                <a:lnTo>
                  <a:pt x="1425" y="276"/>
                </a:lnTo>
                <a:lnTo>
                  <a:pt x="1416" y="262"/>
                </a:lnTo>
                <a:lnTo>
                  <a:pt x="1409" y="250"/>
                </a:lnTo>
                <a:lnTo>
                  <a:pt x="1403" y="234"/>
                </a:lnTo>
                <a:lnTo>
                  <a:pt x="1397" y="220"/>
                </a:lnTo>
                <a:lnTo>
                  <a:pt x="1394" y="205"/>
                </a:lnTo>
                <a:lnTo>
                  <a:pt x="1393" y="190"/>
                </a:lnTo>
                <a:lnTo>
                  <a:pt x="1391" y="173"/>
                </a:lnTo>
                <a:close/>
                <a:moveTo>
                  <a:pt x="1240" y="228"/>
                </a:moveTo>
                <a:lnTo>
                  <a:pt x="1240" y="119"/>
                </a:lnTo>
                <a:lnTo>
                  <a:pt x="1270" y="119"/>
                </a:lnTo>
                <a:lnTo>
                  <a:pt x="1270" y="204"/>
                </a:lnTo>
                <a:lnTo>
                  <a:pt x="1319" y="204"/>
                </a:lnTo>
                <a:lnTo>
                  <a:pt x="1319" y="228"/>
                </a:lnTo>
                <a:lnTo>
                  <a:pt x="1240" y="228"/>
                </a:lnTo>
                <a:close/>
                <a:moveTo>
                  <a:pt x="1139" y="228"/>
                </a:moveTo>
                <a:lnTo>
                  <a:pt x="1219" y="228"/>
                </a:lnTo>
                <a:lnTo>
                  <a:pt x="1219" y="204"/>
                </a:lnTo>
                <a:lnTo>
                  <a:pt x="1167" y="204"/>
                </a:lnTo>
                <a:lnTo>
                  <a:pt x="1167" y="185"/>
                </a:lnTo>
                <a:lnTo>
                  <a:pt x="1210" y="185"/>
                </a:lnTo>
                <a:lnTo>
                  <a:pt x="1210" y="162"/>
                </a:lnTo>
                <a:lnTo>
                  <a:pt x="1167" y="162"/>
                </a:lnTo>
                <a:lnTo>
                  <a:pt x="1167" y="144"/>
                </a:lnTo>
                <a:lnTo>
                  <a:pt x="1217" y="144"/>
                </a:lnTo>
                <a:lnTo>
                  <a:pt x="1217" y="119"/>
                </a:lnTo>
                <a:lnTo>
                  <a:pt x="1139" y="119"/>
                </a:lnTo>
                <a:lnTo>
                  <a:pt x="1139" y="228"/>
                </a:lnTo>
                <a:close/>
                <a:moveTo>
                  <a:pt x="1014" y="175"/>
                </a:moveTo>
                <a:lnTo>
                  <a:pt x="1014" y="175"/>
                </a:lnTo>
                <a:lnTo>
                  <a:pt x="1016" y="162"/>
                </a:lnTo>
                <a:lnTo>
                  <a:pt x="1019" y="152"/>
                </a:lnTo>
                <a:lnTo>
                  <a:pt x="1024" y="141"/>
                </a:lnTo>
                <a:lnTo>
                  <a:pt x="1030" y="133"/>
                </a:lnTo>
                <a:lnTo>
                  <a:pt x="1038" y="126"/>
                </a:lnTo>
                <a:lnTo>
                  <a:pt x="1047" y="121"/>
                </a:lnTo>
                <a:lnTo>
                  <a:pt x="1056" y="118"/>
                </a:lnTo>
                <a:lnTo>
                  <a:pt x="1068" y="116"/>
                </a:lnTo>
                <a:lnTo>
                  <a:pt x="1077" y="118"/>
                </a:lnTo>
                <a:lnTo>
                  <a:pt x="1085" y="119"/>
                </a:lnTo>
                <a:lnTo>
                  <a:pt x="1093" y="122"/>
                </a:lnTo>
                <a:lnTo>
                  <a:pt x="1099" y="126"/>
                </a:lnTo>
                <a:lnTo>
                  <a:pt x="1105" y="132"/>
                </a:lnTo>
                <a:lnTo>
                  <a:pt x="1110" y="138"/>
                </a:lnTo>
                <a:lnTo>
                  <a:pt x="1114" y="145"/>
                </a:lnTo>
                <a:lnTo>
                  <a:pt x="1116" y="155"/>
                </a:lnTo>
                <a:lnTo>
                  <a:pt x="1087" y="155"/>
                </a:lnTo>
                <a:lnTo>
                  <a:pt x="1084" y="147"/>
                </a:lnTo>
                <a:lnTo>
                  <a:pt x="1081" y="144"/>
                </a:lnTo>
                <a:lnTo>
                  <a:pt x="1074" y="141"/>
                </a:lnTo>
                <a:lnTo>
                  <a:pt x="1068" y="141"/>
                </a:lnTo>
                <a:lnTo>
                  <a:pt x="1064" y="141"/>
                </a:lnTo>
                <a:lnTo>
                  <a:pt x="1057" y="144"/>
                </a:lnTo>
                <a:lnTo>
                  <a:pt x="1054" y="147"/>
                </a:lnTo>
                <a:lnTo>
                  <a:pt x="1050" y="150"/>
                </a:lnTo>
                <a:lnTo>
                  <a:pt x="1048" y="155"/>
                </a:lnTo>
                <a:lnTo>
                  <a:pt x="1045" y="161"/>
                </a:lnTo>
                <a:lnTo>
                  <a:pt x="1044" y="175"/>
                </a:lnTo>
                <a:lnTo>
                  <a:pt x="1045" y="188"/>
                </a:lnTo>
                <a:lnTo>
                  <a:pt x="1048" y="193"/>
                </a:lnTo>
                <a:lnTo>
                  <a:pt x="1051" y="199"/>
                </a:lnTo>
                <a:lnTo>
                  <a:pt x="1054" y="202"/>
                </a:lnTo>
                <a:lnTo>
                  <a:pt x="1059" y="205"/>
                </a:lnTo>
                <a:lnTo>
                  <a:pt x="1064" y="208"/>
                </a:lnTo>
                <a:lnTo>
                  <a:pt x="1070" y="208"/>
                </a:lnTo>
                <a:lnTo>
                  <a:pt x="1081" y="207"/>
                </a:lnTo>
                <a:lnTo>
                  <a:pt x="1088" y="204"/>
                </a:lnTo>
                <a:lnTo>
                  <a:pt x="1088" y="188"/>
                </a:lnTo>
                <a:lnTo>
                  <a:pt x="1070" y="188"/>
                </a:lnTo>
                <a:lnTo>
                  <a:pt x="1070" y="168"/>
                </a:lnTo>
                <a:lnTo>
                  <a:pt x="1116" y="168"/>
                </a:lnTo>
                <a:lnTo>
                  <a:pt x="1116" y="216"/>
                </a:lnTo>
                <a:lnTo>
                  <a:pt x="1105" y="223"/>
                </a:lnTo>
                <a:lnTo>
                  <a:pt x="1094" y="228"/>
                </a:lnTo>
                <a:lnTo>
                  <a:pt x="1082" y="231"/>
                </a:lnTo>
                <a:lnTo>
                  <a:pt x="1073" y="233"/>
                </a:lnTo>
                <a:lnTo>
                  <a:pt x="1059" y="231"/>
                </a:lnTo>
                <a:lnTo>
                  <a:pt x="1048" y="228"/>
                </a:lnTo>
                <a:lnTo>
                  <a:pt x="1038" y="223"/>
                </a:lnTo>
                <a:lnTo>
                  <a:pt x="1030" y="217"/>
                </a:lnTo>
                <a:lnTo>
                  <a:pt x="1024" y="208"/>
                </a:lnTo>
                <a:lnTo>
                  <a:pt x="1019" y="199"/>
                </a:lnTo>
                <a:lnTo>
                  <a:pt x="1016" y="187"/>
                </a:lnTo>
                <a:lnTo>
                  <a:pt x="1014" y="175"/>
                </a:lnTo>
                <a:close/>
                <a:moveTo>
                  <a:pt x="939" y="190"/>
                </a:moveTo>
                <a:lnTo>
                  <a:pt x="953" y="148"/>
                </a:lnTo>
                <a:lnTo>
                  <a:pt x="967" y="190"/>
                </a:lnTo>
                <a:lnTo>
                  <a:pt x="939" y="190"/>
                </a:lnTo>
                <a:close/>
                <a:moveTo>
                  <a:pt x="896" y="228"/>
                </a:moveTo>
                <a:lnTo>
                  <a:pt x="927" y="228"/>
                </a:lnTo>
                <a:lnTo>
                  <a:pt x="931" y="211"/>
                </a:lnTo>
                <a:lnTo>
                  <a:pt x="974" y="211"/>
                </a:lnTo>
                <a:lnTo>
                  <a:pt x="981" y="228"/>
                </a:lnTo>
                <a:lnTo>
                  <a:pt x="1010" y="228"/>
                </a:lnTo>
                <a:lnTo>
                  <a:pt x="968" y="119"/>
                </a:lnTo>
                <a:lnTo>
                  <a:pt x="938" y="119"/>
                </a:lnTo>
                <a:lnTo>
                  <a:pt x="896" y="228"/>
                </a:lnTo>
                <a:close/>
                <a:moveTo>
                  <a:pt x="789" y="228"/>
                </a:moveTo>
                <a:lnTo>
                  <a:pt x="815" y="228"/>
                </a:lnTo>
                <a:lnTo>
                  <a:pt x="815" y="164"/>
                </a:lnTo>
                <a:lnTo>
                  <a:pt x="853" y="228"/>
                </a:lnTo>
                <a:lnTo>
                  <a:pt x="884" y="228"/>
                </a:lnTo>
                <a:lnTo>
                  <a:pt x="884" y="119"/>
                </a:lnTo>
                <a:lnTo>
                  <a:pt x="856" y="119"/>
                </a:lnTo>
                <a:lnTo>
                  <a:pt x="856" y="184"/>
                </a:lnTo>
                <a:lnTo>
                  <a:pt x="818" y="119"/>
                </a:lnTo>
                <a:lnTo>
                  <a:pt x="789" y="119"/>
                </a:lnTo>
                <a:lnTo>
                  <a:pt x="789" y="228"/>
                </a:lnTo>
                <a:close/>
                <a:moveTo>
                  <a:pt x="666" y="185"/>
                </a:moveTo>
                <a:lnTo>
                  <a:pt x="666" y="171"/>
                </a:lnTo>
                <a:lnTo>
                  <a:pt x="709" y="171"/>
                </a:lnTo>
                <a:lnTo>
                  <a:pt x="709" y="127"/>
                </a:lnTo>
                <a:lnTo>
                  <a:pt x="725" y="127"/>
                </a:lnTo>
                <a:lnTo>
                  <a:pt x="725" y="171"/>
                </a:lnTo>
                <a:lnTo>
                  <a:pt x="769" y="171"/>
                </a:lnTo>
                <a:lnTo>
                  <a:pt x="769" y="185"/>
                </a:lnTo>
                <a:lnTo>
                  <a:pt x="725" y="185"/>
                </a:lnTo>
                <a:lnTo>
                  <a:pt x="725" y="228"/>
                </a:lnTo>
                <a:lnTo>
                  <a:pt x="709" y="228"/>
                </a:lnTo>
                <a:lnTo>
                  <a:pt x="709" y="185"/>
                </a:lnTo>
                <a:lnTo>
                  <a:pt x="666" y="185"/>
                </a:lnTo>
                <a:close/>
                <a:moveTo>
                  <a:pt x="572" y="228"/>
                </a:moveTo>
                <a:lnTo>
                  <a:pt x="653" y="228"/>
                </a:lnTo>
                <a:lnTo>
                  <a:pt x="653" y="204"/>
                </a:lnTo>
                <a:lnTo>
                  <a:pt x="599" y="204"/>
                </a:lnTo>
                <a:lnTo>
                  <a:pt x="599" y="185"/>
                </a:lnTo>
                <a:lnTo>
                  <a:pt x="644" y="185"/>
                </a:lnTo>
                <a:lnTo>
                  <a:pt x="644" y="162"/>
                </a:lnTo>
                <a:lnTo>
                  <a:pt x="599" y="162"/>
                </a:lnTo>
                <a:lnTo>
                  <a:pt x="599" y="144"/>
                </a:lnTo>
                <a:lnTo>
                  <a:pt x="650" y="144"/>
                </a:lnTo>
                <a:lnTo>
                  <a:pt x="650" y="119"/>
                </a:lnTo>
                <a:lnTo>
                  <a:pt x="572" y="119"/>
                </a:lnTo>
                <a:lnTo>
                  <a:pt x="572" y="228"/>
                </a:lnTo>
                <a:close/>
                <a:moveTo>
                  <a:pt x="450" y="228"/>
                </a:moveTo>
                <a:lnTo>
                  <a:pt x="478" y="228"/>
                </a:lnTo>
                <a:lnTo>
                  <a:pt x="478" y="164"/>
                </a:lnTo>
                <a:lnTo>
                  <a:pt x="516" y="228"/>
                </a:lnTo>
                <a:lnTo>
                  <a:pt x="546" y="228"/>
                </a:lnTo>
                <a:lnTo>
                  <a:pt x="546" y="119"/>
                </a:lnTo>
                <a:lnTo>
                  <a:pt x="520" y="119"/>
                </a:lnTo>
                <a:lnTo>
                  <a:pt x="520" y="184"/>
                </a:lnTo>
                <a:lnTo>
                  <a:pt x="480" y="119"/>
                </a:lnTo>
                <a:lnTo>
                  <a:pt x="450" y="119"/>
                </a:lnTo>
                <a:lnTo>
                  <a:pt x="450" y="228"/>
                </a:lnTo>
                <a:close/>
                <a:moveTo>
                  <a:pt x="329" y="228"/>
                </a:moveTo>
                <a:lnTo>
                  <a:pt x="358" y="228"/>
                </a:lnTo>
                <a:lnTo>
                  <a:pt x="358" y="187"/>
                </a:lnTo>
                <a:lnTo>
                  <a:pt x="397" y="187"/>
                </a:lnTo>
                <a:lnTo>
                  <a:pt x="397" y="228"/>
                </a:lnTo>
                <a:lnTo>
                  <a:pt x="426" y="228"/>
                </a:lnTo>
                <a:lnTo>
                  <a:pt x="426" y="119"/>
                </a:lnTo>
                <a:lnTo>
                  <a:pt x="397" y="119"/>
                </a:lnTo>
                <a:lnTo>
                  <a:pt x="397" y="161"/>
                </a:lnTo>
                <a:lnTo>
                  <a:pt x="358" y="161"/>
                </a:lnTo>
                <a:lnTo>
                  <a:pt x="358" y="119"/>
                </a:lnTo>
                <a:lnTo>
                  <a:pt x="329" y="119"/>
                </a:lnTo>
                <a:lnTo>
                  <a:pt x="329" y="228"/>
                </a:lnTo>
                <a:close/>
                <a:moveTo>
                  <a:pt x="226" y="228"/>
                </a:moveTo>
                <a:lnTo>
                  <a:pt x="307" y="228"/>
                </a:lnTo>
                <a:lnTo>
                  <a:pt x="307" y="204"/>
                </a:lnTo>
                <a:lnTo>
                  <a:pt x="254" y="204"/>
                </a:lnTo>
                <a:lnTo>
                  <a:pt x="254" y="185"/>
                </a:lnTo>
                <a:lnTo>
                  <a:pt x="298" y="185"/>
                </a:lnTo>
                <a:lnTo>
                  <a:pt x="298" y="162"/>
                </a:lnTo>
                <a:lnTo>
                  <a:pt x="254" y="162"/>
                </a:lnTo>
                <a:lnTo>
                  <a:pt x="254" y="144"/>
                </a:lnTo>
                <a:lnTo>
                  <a:pt x="304" y="144"/>
                </a:lnTo>
                <a:lnTo>
                  <a:pt x="304" y="119"/>
                </a:lnTo>
                <a:lnTo>
                  <a:pt x="226" y="119"/>
                </a:lnTo>
                <a:lnTo>
                  <a:pt x="226" y="228"/>
                </a:lnTo>
                <a:close/>
                <a:moveTo>
                  <a:pt x="108" y="184"/>
                </a:moveTo>
                <a:lnTo>
                  <a:pt x="108" y="184"/>
                </a:lnTo>
                <a:lnTo>
                  <a:pt x="108" y="196"/>
                </a:lnTo>
                <a:lnTo>
                  <a:pt x="111" y="207"/>
                </a:lnTo>
                <a:lnTo>
                  <a:pt x="115" y="214"/>
                </a:lnTo>
                <a:lnTo>
                  <a:pt x="121" y="220"/>
                </a:lnTo>
                <a:lnTo>
                  <a:pt x="129" y="227"/>
                </a:lnTo>
                <a:lnTo>
                  <a:pt x="137" y="230"/>
                </a:lnTo>
                <a:lnTo>
                  <a:pt x="144" y="231"/>
                </a:lnTo>
                <a:lnTo>
                  <a:pt x="155" y="233"/>
                </a:lnTo>
                <a:lnTo>
                  <a:pt x="164" y="231"/>
                </a:lnTo>
                <a:lnTo>
                  <a:pt x="172" y="230"/>
                </a:lnTo>
                <a:lnTo>
                  <a:pt x="181" y="227"/>
                </a:lnTo>
                <a:lnTo>
                  <a:pt x="188" y="220"/>
                </a:lnTo>
                <a:lnTo>
                  <a:pt x="194" y="214"/>
                </a:lnTo>
                <a:lnTo>
                  <a:pt x="198" y="207"/>
                </a:lnTo>
                <a:lnTo>
                  <a:pt x="201" y="196"/>
                </a:lnTo>
                <a:lnTo>
                  <a:pt x="201" y="184"/>
                </a:lnTo>
                <a:lnTo>
                  <a:pt x="201" y="119"/>
                </a:lnTo>
                <a:lnTo>
                  <a:pt x="172" y="119"/>
                </a:lnTo>
                <a:lnTo>
                  <a:pt x="172" y="188"/>
                </a:lnTo>
                <a:lnTo>
                  <a:pt x="171" y="196"/>
                </a:lnTo>
                <a:lnTo>
                  <a:pt x="168" y="202"/>
                </a:lnTo>
                <a:lnTo>
                  <a:pt x="163" y="207"/>
                </a:lnTo>
                <a:lnTo>
                  <a:pt x="155" y="207"/>
                </a:lnTo>
                <a:lnTo>
                  <a:pt x="146" y="207"/>
                </a:lnTo>
                <a:lnTo>
                  <a:pt x="141" y="202"/>
                </a:lnTo>
                <a:lnTo>
                  <a:pt x="137" y="196"/>
                </a:lnTo>
                <a:lnTo>
                  <a:pt x="137" y="188"/>
                </a:lnTo>
                <a:lnTo>
                  <a:pt x="137" y="119"/>
                </a:lnTo>
                <a:lnTo>
                  <a:pt x="108" y="119"/>
                </a:lnTo>
                <a:lnTo>
                  <a:pt x="108" y="184"/>
                </a:lnTo>
                <a:close/>
                <a:moveTo>
                  <a:pt x="0" y="228"/>
                </a:moveTo>
                <a:lnTo>
                  <a:pt x="29" y="228"/>
                </a:lnTo>
                <a:lnTo>
                  <a:pt x="29" y="197"/>
                </a:lnTo>
                <a:lnTo>
                  <a:pt x="38" y="185"/>
                </a:lnTo>
                <a:lnTo>
                  <a:pt x="63" y="228"/>
                </a:lnTo>
                <a:lnTo>
                  <a:pt x="97" y="228"/>
                </a:lnTo>
                <a:lnTo>
                  <a:pt x="58" y="164"/>
                </a:lnTo>
                <a:lnTo>
                  <a:pt x="92" y="119"/>
                </a:lnTo>
                <a:lnTo>
                  <a:pt x="58" y="119"/>
                </a:lnTo>
                <a:lnTo>
                  <a:pt x="29" y="159"/>
                </a:lnTo>
                <a:lnTo>
                  <a:pt x="29" y="119"/>
                </a:lnTo>
                <a:lnTo>
                  <a:pt x="0" y="119"/>
                </a:lnTo>
                <a:lnTo>
                  <a:pt x="0" y="228"/>
                </a:lnTo>
                <a:close/>
              </a:path>
            </a:pathLst>
          </a:custGeom>
          <a:solidFill>
            <a:srgbClr val="00336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Text Placeholder 5"/>
          <p:cNvSpPr>
            <a:spLocks noGrp="1"/>
          </p:cNvSpPr>
          <p:nvPr>
            <p:ph type="body" sz="quarter" idx="12"/>
          </p:nvPr>
        </p:nvSpPr>
        <p:spPr>
          <a:xfrm>
            <a:off x="550862" y="3213715"/>
            <a:ext cx="8316914" cy="3096597"/>
          </a:xfrm>
          <a:prstGeom prst="rect">
            <a:avLst/>
          </a:prstGeom>
        </p:spPr>
        <p:txBody>
          <a:bodyPr>
            <a:noAutofit/>
          </a:bodyPr>
          <a:lstStyle>
            <a:lvl1pPr marL="0" indent="0">
              <a:lnSpc>
                <a:spcPct val="100000"/>
              </a:lnSpc>
              <a:spcBef>
                <a:spcPts val="0"/>
              </a:spcBef>
              <a:spcAft>
                <a:spcPts val="1200"/>
              </a:spcAft>
              <a:buNone/>
              <a:defRPr sz="2400" b="0" baseline="0">
                <a:solidFill>
                  <a:schemeClr val="bg1"/>
                </a:solidFill>
              </a:defRPr>
            </a:lvl1pPr>
          </a:lstStyle>
          <a:p>
            <a:pPr lvl="0"/>
            <a:r>
              <a:rPr lang="en-US" noProof="0"/>
              <a:t>Click to edit Master text styles</a:t>
            </a:r>
          </a:p>
        </p:txBody>
      </p:sp>
      <p:sp>
        <p:nvSpPr>
          <p:cNvPr id="6" name="Titel 1"/>
          <p:cNvSpPr>
            <a:spLocks noGrp="1"/>
          </p:cNvSpPr>
          <p:nvPr>
            <p:ph type="title"/>
          </p:nvPr>
        </p:nvSpPr>
        <p:spPr>
          <a:xfrm>
            <a:off x="550864" y="1991893"/>
            <a:ext cx="8316914" cy="1065940"/>
          </a:xfrm>
        </p:spPr>
        <p:txBody>
          <a:bodyPr/>
          <a:lstStyle>
            <a:lvl1pPr>
              <a:lnSpc>
                <a:spcPct val="100000"/>
              </a:lnSpc>
              <a:spcAft>
                <a:spcPts val="0"/>
              </a:spcAft>
              <a:defRPr lang="en-GB" sz="3600" b="1" kern="1200" baseline="0" noProof="0" dirty="0">
                <a:solidFill>
                  <a:schemeClr val="bg1"/>
                </a:solidFill>
                <a:latin typeface="+mn-lt"/>
                <a:ea typeface="+mn-ea"/>
                <a:cs typeface="+mn-cs"/>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3119196822"/>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eft_text_right_blank">
    <p:spTree>
      <p:nvGrpSpPr>
        <p:cNvPr id="1" name=""/>
        <p:cNvGrpSpPr/>
        <p:nvPr/>
      </p:nvGrpSpPr>
      <p:grpSpPr>
        <a:xfrm>
          <a:off x="0" y="0"/>
          <a:ext cx="0" cy="0"/>
          <a:chOff x="0" y="0"/>
          <a:chExt cx="0" cy="0"/>
        </a:xfrm>
      </p:grpSpPr>
      <p:sp>
        <p:nvSpPr>
          <p:cNvPr id="7" name="Text Placeholder 2"/>
          <p:cNvSpPr>
            <a:spLocks noGrp="1"/>
          </p:cNvSpPr>
          <p:nvPr>
            <p:ph type="body" sz="quarter" idx="14"/>
          </p:nvPr>
        </p:nvSpPr>
        <p:spPr>
          <a:xfrm>
            <a:off x="550864" y="1989139"/>
            <a:ext cx="2773362" cy="4321174"/>
          </a:xfrm>
          <a:prstGeom prst="rect">
            <a:avLst/>
          </a:prstGeom>
        </p:spPr>
        <p:txBody>
          <a:bodyPr>
            <a:noAutofit/>
          </a:bodyPr>
          <a:lstStyle>
            <a:lvl1pPr marL="0" indent="0">
              <a:lnSpc>
                <a:spcPct val="100000"/>
              </a:lnSpc>
              <a:spcBef>
                <a:spcPts val="0"/>
              </a:spcBef>
              <a:spcAft>
                <a:spcPts val="1200"/>
              </a:spcAft>
              <a:buNone/>
              <a:defRPr sz="1800" b="0" baseline="0">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0" name="Titel 4"/>
          <p:cNvSpPr>
            <a:spLocks noGrp="1"/>
          </p:cNvSpPr>
          <p:nvPr>
            <p:ph type="title"/>
          </p:nvPr>
        </p:nvSpPr>
        <p:spPr>
          <a:xfrm>
            <a:off x="553321" y="550779"/>
            <a:ext cx="2770905" cy="1438360"/>
          </a:xfrm>
        </p:spPr>
        <p:txBody>
          <a:bodyPr/>
          <a:lstStyle/>
          <a:p>
            <a:pPr lvl="0"/>
            <a:r>
              <a:rPr lang="en-US" noProof="0"/>
              <a:t>Click to edit Master title style</a:t>
            </a:r>
            <a:endParaRPr lang="de-DE" dirty="0"/>
          </a:p>
        </p:txBody>
      </p:sp>
      <p:sp>
        <p:nvSpPr>
          <p:cNvPr id="2" name="Slide Number Placeholder 3">
            <a:extLst>
              <a:ext uri="{FF2B5EF4-FFF2-40B4-BE49-F238E27FC236}">
                <a16:creationId xmlns:a16="http://schemas.microsoft.com/office/drawing/2014/main" id="{DB0DF835-3469-772E-C5F0-1CB0E16D8B06}"/>
              </a:ext>
            </a:extLst>
          </p:cNvPr>
          <p:cNvSpPr>
            <a:spLocks noGrp="1"/>
          </p:cNvSpPr>
          <p:nvPr>
            <p:ph type="sldNum" sz="quarter" idx="15"/>
          </p:nvPr>
        </p:nvSpPr>
        <p:spPr/>
        <p:txBody>
          <a:bodyPr/>
          <a:lstStyle>
            <a:lvl1pPr algn="r">
              <a:defRPr sz="1000">
                <a:solidFill>
                  <a:srgbClr val="000000"/>
                </a:solidFill>
              </a:defRPr>
            </a:lvl1pPr>
          </a:lstStyle>
          <a:p>
            <a:pPr>
              <a:defRPr/>
            </a:pPr>
            <a:fld id="{7884F9FE-1F74-4B3A-90A5-C5A130696799}" type="slidenum">
              <a:rPr lang="en-GB"/>
              <a:pPr>
                <a:defRPr/>
              </a:pPr>
              <a:t>‹#›</a:t>
            </a:fld>
            <a:endParaRPr lang="en-GB" dirty="0"/>
          </a:p>
        </p:txBody>
      </p:sp>
    </p:spTree>
    <p:extLst>
      <p:ext uri="{BB962C8B-B14F-4D97-AF65-F5344CB8AC3E}">
        <p14:creationId xmlns:p14="http://schemas.microsoft.com/office/powerpoint/2010/main" val="1792498774"/>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eft_text+BlueBG_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E42AFEF-993A-DD60-A585-1EA4BA5867A5}"/>
              </a:ext>
            </a:extLst>
          </p:cNvPr>
          <p:cNvSpPr/>
          <p:nvPr/>
        </p:nvSpPr>
        <p:spPr>
          <a:xfrm>
            <a:off x="4019550" y="0"/>
            <a:ext cx="81724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5">
            <a:extLst>
              <a:ext uri="{FF2B5EF4-FFF2-40B4-BE49-F238E27FC236}">
                <a16:creationId xmlns:a16="http://schemas.microsoft.com/office/drawing/2014/main" id="{4D34A5A4-F630-E4FB-8459-D3CE0865DC62}"/>
              </a:ext>
            </a:extLst>
          </p:cNvPr>
          <p:cNvSpPr>
            <a:spLocks noEditPoints="1"/>
          </p:cNvSpPr>
          <p:nvPr/>
        </p:nvSpPr>
        <p:spPr bwMode="auto">
          <a:xfrm>
            <a:off x="9721850" y="558800"/>
            <a:ext cx="1908175" cy="379413"/>
          </a:xfrm>
          <a:custGeom>
            <a:avLst/>
            <a:gdLst>
              <a:gd name="T0" fmla="*/ 1714967 w 1196"/>
              <a:gd name="T1" fmla="*/ 111125 h 239"/>
              <a:gd name="T2" fmla="*/ 1729324 w 1196"/>
              <a:gd name="T3" fmla="*/ 142875 h 239"/>
              <a:gd name="T4" fmla="*/ 1695823 w 1196"/>
              <a:gd name="T5" fmla="*/ 130175 h 239"/>
              <a:gd name="T6" fmla="*/ 1649559 w 1196"/>
              <a:gd name="T7" fmla="*/ 368300 h 239"/>
              <a:gd name="T8" fmla="*/ 1750064 w 1196"/>
              <a:gd name="T9" fmla="*/ 376238 h 239"/>
              <a:gd name="T10" fmla="*/ 1813876 w 1196"/>
              <a:gd name="T11" fmla="*/ 309563 h 239"/>
              <a:gd name="T12" fmla="*/ 1764421 w 1196"/>
              <a:gd name="T13" fmla="*/ 212725 h 239"/>
              <a:gd name="T14" fmla="*/ 1756445 w 1196"/>
              <a:gd name="T15" fmla="*/ 142875 h 239"/>
              <a:gd name="T16" fmla="*/ 1746873 w 1196"/>
              <a:gd name="T17" fmla="*/ 100013 h 239"/>
              <a:gd name="T18" fmla="*/ 1697418 w 1196"/>
              <a:gd name="T19" fmla="*/ 92075 h 239"/>
              <a:gd name="T20" fmla="*/ 1670298 w 1196"/>
              <a:gd name="T21" fmla="*/ 130175 h 239"/>
              <a:gd name="T22" fmla="*/ 1665512 w 1196"/>
              <a:gd name="T23" fmla="*/ 187325 h 239"/>
              <a:gd name="T24" fmla="*/ 1633605 w 1196"/>
              <a:gd name="T25" fmla="*/ 322263 h 239"/>
              <a:gd name="T26" fmla="*/ 1531505 w 1196"/>
              <a:gd name="T27" fmla="*/ 133350 h 239"/>
              <a:gd name="T28" fmla="*/ 1608080 w 1196"/>
              <a:gd name="T29" fmla="*/ 33338 h 239"/>
              <a:gd name="T30" fmla="*/ 1716562 w 1196"/>
              <a:gd name="T31" fmla="*/ 0 h 239"/>
              <a:gd name="T32" fmla="*/ 1837806 w 1196"/>
              <a:gd name="T33" fmla="*/ 42863 h 239"/>
              <a:gd name="T34" fmla="*/ 1904809 w 1196"/>
              <a:gd name="T35" fmla="*/ 149225 h 239"/>
              <a:gd name="T36" fmla="*/ 1895237 w 1196"/>
              <a:gd name="T37" fmla="*/ 254000 h 239"/>
              <a:gd name="T38" fmla="*/ 1844187 w 1196"/>
              <a:gd name="T39" fmla="*/ 276225 h 239"/>
              <a:gd name="T40" fmla="*/ 1872903 w 1196"/>
              <a:gd name="T41" fmla="*/ 187325 h 239"/>
              <a:gd name="T42" fmla="*/ 1845783 w 1196"/>
              <a:gd name="T43" fmla="*/ 101600 h 239"/>
              <a:gd name="T44" fmla="*/ 1761231 w 1196"/>
              <a:gd name="T45" fmla="*/ 39688 h 239"/>
              <a:gd name="T46" fmla="*/ 1668702 w 1196"/>
              <a:gd name="T47" fmla="*/ 39688 h 239"/>
              <a:gd name="T48" fmla="*/ 1587341 w 1196"/>
              <a:gd name="T49" fmla="*/ 101600 h 239"/>
              <a:gd name="T50" fmla="*/ 1560221 w 1196"/>
              <a:gd name="T51" fmla="*/ 187325 h 239"/>
              <a:gd name="T52" fmla="*/ 1587341 w 1196"/>
              <a:gd name="T53" fmla="*/ 276225 h 239"/>
              <a:gd name="T54" fmla="*/ 1536291 w 1196"/>
              <a:gd name="T55" fmla="*/ 254000 h 239"/>
              <a:gd name="T56" fmla="*/ 1357615 w 1196"/>
              <a:gd name="T57" fmla="*/ 130175 h 239"/>
              <a:gd name="T58" fmla="*/ 1333686 w 1196"/>
              <a:gd name="T59" fmla="*/ 247650 h 239"/>
              <a:gd name="T60" fmla="*/ 1276254 w 1196"/>
              <a:gd name="T61" fmla="*/ 157163 h 239"/>
              <a:gd name="T62" fmla="*/ 1111936 w 1196"/>
              <a:gd name="T63" fmla="*/ 176213 h 239"/>
              <a:gd name="T64" fmla="*/ 1169368 w 1196"/>
              <a:gd name="T65" fmla="*/ 127000 h 239"/>
              <a:gd name="T66" fmla="*/ 1214037 w 1196"/>
              <a:gd name="T67" fmla="*/ 149225 h 239"/>
              <a:gd name="T68" fmla="*/ 1175749 w 1196"/>
              <a:gd name="T69" fmla="*/ 152400 h 239"/>
              <a:gd name="T70" fmla="*/ 1147033 w 1196"/>
              <a:gd name="T71" fmla="*/ 168275 h 239"/>
              <a:gd name="T72" fmla="*/ 1155010 w 1196"/>
              <a:gd name="T73" fmla="*/ 219075 h 239"/>
              <a:gd name="T74" fmla="*/ 1191702 w 1196"/>
              <a:gd name="T75" fmla="*/ 204788 h 239"/>
              <a:gd name="T76" fmla="*/ 1198084 w 1196"/>
              <a:gd name="T77" fmla="*/ 247650 h 239"/>
              <a:gd name="T78" fmla="*/ 1127890 w 1196"/>
              <a:gd name="T79" fmla="*/ 236538 h 239"/>
              <a:gd name="T80" fmla="*/ 1043338 w 1196"/>
              <a:gd name="T81" fmla="*/ 161925 h 239"/>
              <a:gd name="T82" fmla="*/ 1073649 w 1196"/>
              <a:gd name="T83" fmla="*/ 247650 h 239"/>
              <a:gd name="T84" fmla="*/ 891783 w 1196"/>
              <a:gd name="T85" fmla="*/ 177800 h 239"/>
              <a:gd name="T86" fmla="*/ 863067 w 1196"/>
              <a:gd name="T87" fmla="*/ 130175 h 239"/>
              <a:gd name="T88" fmla="*/ 794468 w 1196"/>
              <a:gd name="T89" fmla="*/ 185738 h 239"/>
              <a:gd name="T90" fmla="*/ 729060 w 1196"/>
              <a:gd name="T91" fmla="*/ 201613 h 239"/>
              <a:gd name="T92" fmla="*/ 705130 w 1196"/>
              <a:gd name="T93" fmla="*/ 176213 h 239"/>
              <a:gd name="T94" fmla="*/ 492953 w 1196"/>
              <a:gd name="T95" fmla="*/ 247650 h 239"/>
              <a:gd name="T96" fmla="*/ 567933 w 1196"/>
              <a:gd name="T97" fmla="*/ 200025 h 239"/>
              <a:gd name="T98" fmla="*/ 433926 w 1196"/>
              <a:gd name="T99" fmla="*/ 203200 h 239"/>
              <a:gd name="T100" fmla="*/ 392448 w 1196"/>
              <a:gd name="T101" fmla="*/ 130175 h 239"/>
              <a:gd name="T102" fmla="*/ 277585 w 1196"/>
              <a:gd name="T103" fmla="*/ 201613 h 239"/>
              <a:gd name="T104" fmla="*/ 247274 w 1196"/>
              <a:gd name="T105" fmla="*/ 130175 h 239"/>
              <a:gd name="T106" fmla="*/ 132411 w 1196"/>
              <a:gd name="T107" fmla="*/ 239713 h 239"/>
              <a:gd name="T108" fmla="*/ 188247 w 1196"/>
              <a:gd name="T109" fmla="*/ 249238 h 239"/>
              <a:gd name="T110" fmla="*/ 220154 w 1196"/>
              <a:gd name="T111" fmla="*/ 130175 h 239"/>
              <a:gd name="T112" fmla="*/ 170699 w 1196"/>
              <a:gd name="T113" fmla="*/ 225425 h 239"/>
              <a:gd name="T114" fmla="*/ 118054 w 1196"/>
              <a:gd name="T115" fmla="*/ 130175 h 239"/>
              <a:gd name="T116" fmla="*/ 105291 w 1196"/>
              <a:gd name="T117" fmla="*/ 247650 h 239"/>
              <a:gd name="T118" fmla="*/ 0 w 1196"/>
              <a:gd name="T119" fmla="*/ 247650 h 2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96" h="239">
                <a:moveTo>
                  <a:pt x="1063" y="82"/>
                </a:moveTo>
                <a:lnTo>
                  <a:pt x="1063" y="82"/>
                </a:lnTo>
                <a:lnTo>
                  <a:pt x="1064" y="78"/>
                </a:lnTo>
                <a:lnTo>
                  <a:pt x="1066" y="73"/>
                </a:lnTo>
                <a:lnTo>
                  <a:pt x="1070" y="71"/>
                </a:lnTo>
                <a:lnTo>
                  <a:pt x="1075" y="70"/>
                </a:lnTo>
                <a:lnTo>
                  <a:pt x="1080" y="71"/>
                </a:lnTo>
                <a:lnTo>
                  <a:pt x="1084" y="73"/>
                </a:lnTo>
                <a:lnTo>
                  <a:pt x="1086" y="78"/>
                </a:lnTo>
                <a:lnTo>
                  <a:pt x="1087" y="82"/>
                </a:lnTo>
                <a:lnTo>
                  <a:pt x="1086" y="87"/>
                </a:lnTo>
                <a:lnTo>
                  <a:pt x="1084" y="90"/>
                </a:lnTo>
                <a:lnTo>
                  <a:pt x="1080" y="93"/>
                </a:lnTo>
                <a:lnTo>
                  <a:pt x="1075" y="94"/>
                </a:lnTo>
                <a:lnTo>
                  <a:pt x="1070" y="93"/>
                </a:lnTo>
                <a:lnTo>
                  <a:pt x="1066" y="90"/>
                </a:lnTo>
                <a:lnTo>
                  <a:pt x="1064" y="87"/>
                </a:lnTo>
                <a:lnTo>
                  <a:pt x="1063" y="82"/>
                </a:lnTo>
                <a:close/>
                <a:moveTo>
                  <a:pt x="998" y="211"/>
                </a:moveTo>
                <a:lnTo>
                  <a:pt x="998" y="211"/>
                </a:lnTo>
                <a:lnTo>
                  <a:pt x="1006" y="217"/>
                </a:lnTo>
                <a:lnTo>
                  <a:pt x="1015" y="222"/>
                </a:lnTo>
                <a:lnTo>
                  <a:pt x="1024" y="227"/>
                </a:lnTo>
                <a:lnTo>
                  <a:pt x="1034" y="232"/>
                </a:lnTo>
                <a:lnTo>
                  <a:pt x="1044" y="235"/>
                </a:lnTo>
                <a:lnTo>
                  <a:pt x="1054" y="237"/>
                </a:lnTo>
                <a:lnTo>
                  <a:pt x="1064" y="238"/>
                </a:lnTo>
                <a:lnTo>
                  <a:pt x="1076" y="239"/>
                </a:lnTo>
                <a:lnTo>
                  <a:pt x="1086" y="238"/>
                </a:lnTo>
                <a:lnTo>
                  <a:pt x="1097" y="237"/>
                </a:lnTo>
                <a:lnTo>
                  <a:pt x="1106" y="235"/>
                </a:lnTo>
                <a:lnTo>
                  <a:pt x="1117" y="232"/>
                </a:lnTo>
                <a:lnTo>
                  <a:pt x="1126" y="227"/>
                </a:lnTo>
                <a:lnTo>
                  <a:pt x="1136" y="222"/>
                </a:lnTo>
                <a:lnTo>
                  <a:pt x="1144" y="217"/>
                </a:lnTo>
                <a:lnTo>
                  <a:pt x="1153" y="211"/>
                </a:lnTo>
                <a:lnTo>
                  <a:pt x="1137" y="195"/>
                </a:lnTo>
                <a:lnTo>
                  <a:pt x="1126" y="203"/>
                </a:lnTo>
                <a:lnTo>
                  <a:pt x="1114" y="211"/>
                </a:lnTo>
                <a:lnTo>
                  <a:pt x="1100" y="216"/>
                </a:lnTo>
                <a:lnTo>
                  <a:pt x="1086" y="218"/>
                </a:lnTo>
                <a:lnTo>
                  <a:pt x="1086" y="134"/>
                </a:lnTo>
                <a:lnTo>
                  <a:pt x="1106" y="134"/>
                </a:lnTo>
                <a:lnTo>
                  <a:pt x="1106" y="118"/>
                </a:lnTo>
                <a:lnTo>
                  <a:pt x="1086" y="118"/>
                </a:lnTo>
                <a:lnTo>
                  <a:pt x="1086" y="106"/>
                </a:lnTo>
                <a:lnTo>
                  <a:pt x="1093" y="103"/>
                </a:lnTo>
                <a:lnTo>
                  <a:pt x="1098" y="97"/>
                </a:lnTo>
                <a:lnTo>
                  <a:pt x="1101" y="90"/>
                </a:lnTo>
                <a:lnTo>
                  <a:pt x="1102" y="86"/>
                </a:lnTo>
                <a:lnTo>
                  <a:pt x="1103" y="82"/>
                </a:lnTo>
                <a:lnTo>
                  <a:pt x="1102" y="77"/>
                </a:lnTo>
                <a:lnTo>
                  <a:pt x="1101" y="71"/>
                </a:lnTo>
                <a:lnTo>
                  <a:pt x="1098" y="67"/>
                </a:lnTo>
                <a:lnTo>
                  <a:pt x="1095" y="63"/>
                </a:lnTo>
                <a:lnTo>
                  <a:pt x="1091" y="60"/>
                </a:lnTo>
                <a:lnTo>
                  <a:pt x="1086" y="58"/>
                </a:lnTo>
                <a:lnTo>
                  <a:pt x="1081" y="56"/>
                </a:lnTo>
                <a:lnTo>
                  <a:pt x="1076" y="56"/>
                </a:lnTo>
                <a:lnTo>
                  <a:pt x="1069" y="56"/>
                </a:lnTo>
                <a:lnTo>
                  <a:pt x="1064" y="58"/>
                </a:lnTo>
                <a:lnTo>
                  <a:pt x="1060" y="60"/>
                </a:lnTo>
                <a:lnTo>
                  <a:pt x="1056" y="63"/>
                </a:lnTo>
                <a:lnTo>
                  <a:pt x="1053" y="67"/>
                </a:lnTo>
                <a:lnTo>
                  <a:pt x="1049" y="71"/>
                </a:lnTo>
                <a:lnTo>
                  <a:pt x="1048" y="77"/>
                </a:lnTo>
                <a:lnTo>
                  <a:pt x="1047" y="82"/>
                </a:lnTo>
                <a:lnTo>
                  <a:pt x="1048" y="86"/>
                </a:lnTo>
                <a:lnTo>
                  <a:pt x="1049" y="90"/>
                </a:lnTo>
                <a:lnTo>
                  <a:pt x="1053" y="97"/>
                </a:lnTo>
                <a:lnTo>
                  <a:pt x="1058" y="103"/>
                </a:lnTo>
                <a:lnTo>
                  <a:pt x="1064" y="106"/>
                </a:lnTo>
                <a:lnTo>
                  <a:pt x="1064" y="118"/>
                </a:lnTo>
                <a:lnTo>
                  <a:pt x="1044" y="118"/>
                </a:lnTo>
                <a:lnTo>
                  <a:pt x="1044" y="134"/>
                </a:lnTo>
                <a:lnTo>
                  <a:pt x="1064" y="134"/>
                </a:lnTo>
                <a:lnTo>
                  <a:pt x="1064" y="218"/>
                </a:lnTo>
                <a:lnTo>
                  <a:pt x="1050" y="216"/>
                </a:lnTo>
                <a:lnTo>
                  <a:pt x="1037" y="211"/>
                </a:lnTo>
                <a:lnTo>
                  <a:pt x="1024" y="203"/>
                </a:lnTo>
                <a:lnTo>
                  <a:pt x="1014" y="195"/>
                </a:lnTo>
                <a:lnTo>
                  <a:pt x="998" y="211"/>
                </a:lnTo>
                <a:close/>
                <a:moveTo>
                  <a:pt x="954" y="118"/>
                </a:moveTo>
                <a:lnTo>
                  <a:pt x="954" y="118"/>
                </a:lnTo>
                <a:lnTo>
                  <a:pt x="956" y="107"/>
                </a:lnTo>
                <a:lnTo>
                  <a:pt x="958" y="94"/>
                </a:lnTo>
                <a:lnTo>
                  <a:pt x="960" y="84"/>
                </a:lnTo>
                <a:lnTo>
                  <a:pt x="964" y="72"/>
                </a:lnTo>
                <a:lnTo>
                  <a:pt x="969" y="62"/>
                </a:lnTo>
                <a:lnTo>
                  <a:pt x="976" y="52"/>
                </a:lnTo>
                <a:lnTo>
                  <a:pt x="982" y="43"/>
                </a:lnTo>
                <a:lnTo>
                  <a:pt x="990" y="35"/>
                </a:lnTo>
                <a:lnTo>
                  <a:pt x="999" y="27"/>
                </a:lnTo>
                <a:lnTo>
                  <a:pt x="1008" y="21"/>
                </a:lnTo>
                <a:lnTo>
                  <a:pt x="1018" y="15"/>
                </a:lnTo>
                <a:lnTo>
                  <a:pt x="1028" y="9"/>
                </a:lnTo>
                <a:lnTo>
                  <a:pt x="1040" y="5"/>
                </a:lnTo>
                <a:lnTo>
                  <a:pt x="1052" y="3"/>
                </a:lnTo>
                <a:lnTo>
                  <a:pt x="1063" y="1"/>
                </a:lnTo>
                <a:lnTo>
                  <a:pt x="1076" y="0"/>
                </a:lnTo>
                <a:lnTo>
                  <a:pt x="1087" y="1"/>
                </a:lnTo>
                <a:lnTo>
                  <a:pt x="1100" y="3"/>
                </a:lnTo>
                <a:lnTo>
                  <a:pt x="1111" y="5"/>
                </a:lnTo>
                <a:lnTo>
                  <a:pt x="1122" y="9"/>
                </a:lnTo>
                <a:lnTo>
                  <a:pt x="1133" y="15"/>
                </a:lnTo>
                <a:lnTo>
                  <a:pt x="1142" y="21"/>
                </a:lnTo>
                <a:lnTo>
                  <a:pt x="1152" y="27"/>
                </a:lnTo>
                <a:lnTo>
                  <a:pt x="1160" y="35"/>
                </a:lnTo>
                <a:lnTo>
                  <a:pt x="1169" y="43"/>
                </a:lnTo>
                <a:lnTo>
                  <a:pt x="1175" y="52"/>
                </a:lnTo>
                <a:lnTo>
                  <a:pt x="1181" y="62"/>
                </a:lnTo>
                <a:lnTo>
                  <a:pt x="1187" y="72"/>
                </a:lnTo>
                <a:lnTo>
                  <a:pt x="1191" y="84"/>
                </a:lnTo>
                <a:lnTo>
                  <a:pt x="1194" y="94"/>
                </a:lnTo>
                <a:lnTo>
                  <a:pt x="1195" y="107"/>
                </a:lnTo>
                <a:lnTo>
                  <a:pt x="1196" y="118"/>
                </a:lnTo>
                <a:lnTo>
                  <a:pt x="1195" y="130"/>
                </a:lnTo>
                <a:lnTo>
                  <a:pt x="1194" y="140"/>
                </a:lnTo>
                <a:lnTo>
                  <a:pt x="1192" y="151"/>
                </a:lnTo>
                <a:lnTo>
                  <a:pt x="1188" y="160"/>
                </a:lnTo>
                <a:lnTo>
                  <a:pt x="1184" y="171"/>
                </a:lnTo>
                <a:lnTo>
                  <a:pt x="1179" y="179"/>
                </a:lnTo>
                <a:lnTo>
                  <a:pt x="1173" y="189"/>
                </a:lnTo>
                <a:lnTo>
                  <a:pt x="1166" y="197"/>
                </a:lnTo>
                <a:lnTo>
                  <a:pt x="1151" y="181"/>
                </a:lnTo>
                <a:lnTo>
                  <a:pt x="1156" y="174"/>
                </a:lnTo>
                <a:lnTo>
                  <a:pt x="1160" y="167"/>
                </a:lnTo>
                <a:lnTo>
                  <a:pt x="1164" y="159"/>
                </a:lnTo>
                <a:lnTo>
                  <a:pt x="1168" y="152"/>
                </a:lnTo>
                <a:lnTo>
                  <a:pt x="1170" y="144"/>
                </a:lnTo>
                <a:lnTo>
                  <a:pt x="1172" y="135"/>
                </a:lnTo>
                <a:lnTo>
                  <a:pt x="1173" y="127"/>
                </a:lnTo>
                <a:lnTo>
                  <a:pt x="1174" y="118"/>
                </a:lnTo>
                <a:lnTo>
                  <a:pt x="1173" y="109"/>
                </a:lnTo>
                <a:lnTo>
                  <a:pt x="1172" y="100"/>
                </a:lnTo>
                <a:lnTo>
                  <a:pt x="1169" y="90"/>
                </a:lnTo>
                <a:lnTo>
                  <a:pt x="1165" y="81"/>
                </a:lnTo>
                <a:lnTo>
                  <a:pt x="1161" y="72"/>
                </a:lnTo>
                <a:lnTo>
                  <a:pt x="1157" y="64"/>
                </a:lnTo>
                <a:lnTo>
                  <a:pt x="1151" y="57"/>
                </a:lnTo>
                <a:lnTo>
                  <a:pt x="1144" y="49"/>
                </a:lnTo>
                <a:lnTo>
                  <a:pt x="1138" y="43"/>
                </a:lnTo>
                <a:lnTo>
                  <a:pt x="1130" y="38"/>
                </a:lnTo>
                <a:lnTo>
                  <a:pt x="1122" y="32"/>
                </a:lnTo>
                <a:lnTo>
                  <a:pt x="1114" y="28"/>
                </a:lnTo>
                <a:lnTo>
                  <a:pt x="1104" y="25"/>
                </a:lnTo>
                <a:lnTo>
                  <a:pt x="1095" y="23"/>
                </a:lnTo>
                <a:lnTo>
                  <a:pt x="1085" y="21"/>
                </a:lnTo>
                <a:lnTo>
                  <a:pt x="1076" y="21"/>
                </a:lnTo>
                <a:lnTo>
                  <a:pt x="1065" y="21"/>
                </a:lnTo>
                <a:lnTo>
                  <a:pt x="1056" y="23"/>
                </a:lnTo>
                <a:lnTo>
                  <a:pt x="1046" y="25"/>
                </a:lnTo>
                <a:lnTo>
                  <a:pt x="1037" y="28"/>
                </a:lnTo>
                <a:lnTo>
                  <a:pt x="1028" y="32"/>
                </a:lnTo>
                <a:lnTo>
                  <a:pt x="1021" y="38"/>
                </a:lnTo>
                <a:lnTo>
                  <a:pt x="1014" y="43"/>
                </a:lnTo>
                <a:lnTo>
                  <a:pt x="1006" y="49"/>
                </a:lnTo>
                <a:lnTo>
                  <a:pt x="1000" y="57"/>
                </a:lnTo>
                <a:lnTo>
                  <a:pt x="995" y="64"/>
                </a:lnTo>
                <a:lnTo>
                  <a:pt x="989" y="72"/>
                </a:lnTo>
                <a:lnTo>
                  <a:pt x="985" y="81"/>
                </a:lnTo>
                <a:lnTo>
                  <a:pt x="982" y="90"/>
                </a:lnTo>
                <a:lnTo>
                  <a:pt x="979" y="100"/>
                </a:lnTo>
                <a:lnTo>
                  <a:pt x="978" y="109"/>
                </a:lnTo>
                <a:lnTo>
                  <a:pt x="978" y="118"/>
                </a:lnTo>
                <a:lnTo>
                  <a:pt x="978" y="127"/>
                </a:lnTo>
                <a:lnTo>
                  <a:pt x="979" y="135"/>
                </a:lnTo>
                <a:lnTo>
                  <a:pt x="981" y="144"/>
                </a:lnTo>
                <a:lnTo>
                  <a:pt x="983" y="152"/>
                </a:lnTo>
                <a:lnTo>
                  <a:pt x="986" y="159"/>
                </a:lnTo>
                <a:lnTo>
                  <a:pt x="990" y="167"/>
                </a:lnTo>
                <a:lnTo>
                  <a:pt x="995" y="174"/>
                </a:lnTo>
                <a:lnTo>
                  <a:pt x="1000" y="181"/>
                </a:lnTo>
                <a:lnTo>
                  <a:pt x="984" y="197"/>
                </a:lnTo>
                <a:lnTo>
                  <a:pt x="978" y="189"/>
                </a:lnTo>
                <a:lnTo>
                  <a:pt x="971" y="179"/>
                </a:lnTo>
                <a:lnTo>
                  <a:pt x="967" y="171"/>
                </a:lnTo>
                <a:lnTo>
                  <a:pt x="963" y="160"/>
                </a:lnTo>
                <a:lnTo>
                  <a:pt x="959" y="151"/>
                </a:lnTo>
                <a:lnTo>
                  <a:pt x="957" y="140"/>
                </a:lnTo>
                <a:lnTo>
                  <a:pt x="956" y="130"/>
                </a:lnTo>
                <a:lnTo>
                  <a:pt x="954" y="118"/>
                </a:lnTo>
                <a:close/>
                <a:moveTo>
                  <a:pt x="851" y="156"/>
                </a:moveTo>
                <a:lnTo>
                  <a:pt x="851" y="82"/>
                </a:lnTo>
                <a:lnTo>
                  <a:pt x="871" y="82"/>
                </a:lnTo>
                <a:lnTo>
                  <a:pt x="871" y="139"/>
                </a:lnTo>
                <a:lnTo>
                  <a:pt x="905" y="139"/>
                </a:lnTo>
                <a:lnTo>
                  <a:pt x="905" y="156"/>
                </a:lnTo>
                <a:lnTo>
                  <a:pt x="851" y="156"/>
                </a:lnTo>
                <a:close/>
                <a:moveTo>
                  <a:pt x="782" y="156"/>
                </a:moveTo>
                <a:lnTo>
                  <a:pt x="836" y="156"/>
                </a:lnTo>
                <a:lnTo>
                  <a:pt x="836" y="139"/>
                </a:lnTo>
                <a:lnTo>
                  <a:pt x="800" y="139"/>
                </a:lnTo>
                <a:lnTo>
                  <a:pt x="800" y="127"/>
                </a:lnTo>
                <a:lnTo>
                  <a:pt x="830" y="127"/>
                </a:lnTo>
                <a:lnTo>
                  <a:pt x="830" y="111"/>
                </a:lnTo>
                <a:lnTo>
                  <a:pt x="800" y="111"/>
                </a:lnTo>
                <a:lnTo>
                  <a:pt x="800" y="99"/>
                </a:lnTo>
                <a:lnTo>
                  <a:pt x="835" y="99"/>
                </a:lnTo>
                <a:lnTo>
                  <a:pt x="835" y="82"/>
                </a:lnTo>
                <a:lnTo>
                  <a:pt x="782" y="82"/>
                </a:lnTo>
                <a:lnTo>
                  <a:pt x="782" y="156"/>
                </a:lnTo>
                <a:close/>
                <a:moveTo>
                  <a:pt x="696" y="120"/>
                </a:moveTo>
                <a:lnTo>
                  <a:pt x="696" y="120"/>
                </a:lnTo>
                <a:lnTo>
                  <a:pt x="697" y="111"/>
                </a:lnTo>
                <a:lnTo>
                  <a:pt x="699" y="104"/>
                </a:lnTo>
                <a:lnTo>
                  <a:pt x="702" y="96"/>
                </a:lnTo>
                <a:lnTo>
                  <a:pt x="707" y="91"/>
                </a:lnTo>
                <a:lnTo>
                  <a:pt x="712" y="86"/>
                </a:lnTo>
                <a:lnTo>
                  <a:pt x="718" y="83"/>
                </a:lnTo>
                <a:lnTo>
                  <a:pt x="725" y="81"/>
                </a:lnTo>
                <a:lnTo>
                  <a:pt x="733" y="80"/>
                </a:lnTo>
                <a:lnTo>
                  <a:pt x="739" y="81"/>
                </a:lnTo>
                <a:lnTo>
                  <a:pt x="745" y="82"/>
                </a:lnTo>
                <a:lnTo>
                  <a:pt x="750" y="84"/>
                </a:lnTo>
                <a:lnTo>
                  <a:pt x="754" y="86"/>
                </a:lnTo>
                <a:lnTo>
                  <a:pt x="758" y="90"/>
                </a:lnTo>
                <a:lnTo>
                  <a:pt x="761" y="94"/>
                </a:lnTo>
                <a:lnTo>
                  <a:pt x="765" y="100"/>
                </a:lnTo>
                <a:lnTo>
                  <a:pt x="766" y="106"/>
                </a:lnTo>
                <a:lnTo>
                  <a:pt x="746" y="106"/>
                </a:lnTo>
                <a:lnTo>
                  <a:pt x="744" y="101"/>
                </a:lnTo>
                <a:lnTo>
                  <a:pt x="741" y="99"/>
                </a:lnTo>
                <a:lnTo>
                  <a:pt x="737" y="96"/>
                </a:lnTo>
                <a:lnTo>
                  <a:pt x="733" y="96"/>
                </a:lnTo>
                <a:lnTo>
                  <a:pt x="730" y="96"/>
                </a:lnTo>
                <a:lnTo>
                  <a:pt x="726" y="99"/>
                </a:lnTo>
                <a:lnTo>
                  <a:pt x="724" y="101"/>
                </a:lnTo>
                <a:lnTo>
                  <a:pt x="720" y="103"/>
                </a:lnTo>
                <a:lnTo>
                  <a:pt x="719" y="106"/>
                </a:lnTo>
                <a:lnTo>
                  <a:pt x="717" y="110"/>
                </a:lnTo>
                <a:lnTo>
                  <a:pt x="716" y="120"/>
                </a:lnTo>
                <a:lnTo>
                  <a:pt x="717" y="129"/>
                </a:lnTo>
                <a:lnTo>
                  <a:pt x="719" y="132"/>
                </a:lnTo>
                <a:lnTo>
                  <a:pt x="721" y="136"/>
                </a:lnTo>
                <a:lnTo>
                  <a:pt x="724" y="138"/>
                </a:lnTo>
                <a:lnTo>
                  <a:pt x="727" y="140"/>
                </a:lnTo>
                <a:lnTo>
                  <a:pt x="730" y="143"/>
                </a:lnTo>
                <a:lnTo>
                  <a:pt x="734" y="143"/>
                </a:lnTo>
                <a:lnTo>
                  <a:pt x="741" y="142"/>
                </a:lnTo>
                <a:lnTo>
                  <a:pt x="747" y="139"/>
                </a:lnTo>
                <a:lnTo>
                  <a:pt x="747" y="129"/>
                </a:lnTo>
                <a:lnTo>
                  <a:pt x="734" y="129"/>
                </a:lnTo>
                <a:lnTo>
                  <a:pt x="734" y="115"/>
                </a:lnTo>
                <a:lnTo>
                  <a:pt x="766" y="115"/>
                </a:lnTo>
                <a:lnTo>
                  <a:pt x="766" y="148"/>
                </a:lnTo>
                <a:lnTo>
                  <a:pt x="758" y="153"/>
                </a:lnTo>
                <a:lnTo>
                  <a:pt x="751" y="156"/>
                </a:lnTo>
                <a:lnTo>
                  <a:pt x="742" y="158"/>
                </a:lnTo>
                <a:lnTo>
                  <a:pt x="736" y="159"/>
                </a:lnTo>
                <a:lnTo>
                  <a:pt x="727" y="158"/>
                </a:lnTo>
                <a:lnTo>
                  <a:pt x="719" y="156"/>
                </a:lnTo>
                <a:lnTo>
                  <a:pt x="712" y="153"/>
                </a:lnTo>
                <a:lnTo>
                  <a:pt x="707" y="149"/>
                </a:lnTo>
                <a:lnTo>
                  <a:pt x="702" y="143"/>
                </a:lnTo>
                <a:lnTo>
                  <a:pt x="699" y="136"/>
                </a:lnTo>
                <a:lnTo>
                  <a:pt x="697" y="128"/>
                </a:lnTo>
                <a:lnTo>
                  <a:pt x="696" y="120"/>
                </a:lnTo>
                <a:close/>
                <a:moveTo>
                  <a:pt x="644" y="130"/>
                </a:moveTo>
                <a:lnTo>
                  <a:pt x="654" y="102"/>
                </a:lnTo>
                <a:lnTo>
                  <a:pt x="663" y="130"/>
                </a:lnTo>
                <a:lnTo>
                  <a:pt x="644" y="130"/>
                </a:lnTo>
                <a:close/>
                <a:moveTo>
                  <a:pt x="615" y="156"/>
                </a:moveTo>
                <a:lnTo>
                  <a:pt x="636" y="156"/>
                </a:lnTo>
                <a:lnTo>
                  <a:pt x="639" y="145"/>
                </a:lnTo>
                <a:lnTo>
                  <a:pt x="669" y="145"/>
                </a:lnTo>
                <a:lnTo>
                  <a:pt x="673" y="156"/>
                </a:lnTo>
                <a:lnTo>
                  <a:pt x="693" y="156"/>
                </a:lnTo>
                <a:lnTo>
                  <a:pt x="664" y="82"/>
                </a:lnTo>
                <a:lnTo>
                  <a:pt x="643" y="82"/>
                </a:lnTo>
                <a:lnTo>
                  <a:pt x="615" y="156"/>
                </a:lnTo>
                <a:close/>
                <a:moveTo>
                  <a:pt x="541" y="156"/>
                </a:moveTo>
                <a:lnTo>
                  <a:pt x="559" y="156"/>
                </a:lnTo>
                <a:lnTo>
                  <a:pt x="559" y="112"/>
                </a:lnTo>
                <a:lnTo>
                  <a:pt x="585" y="156"/>
                </a:lnTo>
                <a:lnTo>
                  <a:pt x="606" y="156"/>
                </a:lnTo>
                <a:lnTo>
                  <a:pt x="606" y="82"/>
                </a:lnTo>
                <a:lnTo>
                  <a:pt x="587" y="82"/>
                </a:lnTo>
                <a:lnTo>
                  <a:pt x="587" y="126"/>
                </a:lnTo>
                <a:lnTo>
                  <a:pt x="561" y="82"/>
                </a:lnTo>
                <a:lnTo>
                  <a:pt x="541" y="82"/>
                </a:lnTo>
                <a:lnTo>
                  <a:pt x="541" y="156"/>
                </a:lnTo>
                <a:close/>
                <a:moveTo>
                  <a:pt x="457" y="127"/>
                </a:moveTo>
                <a:lnTo>
                  <a:pt x="457" y="117"/>
                </a:lnTo>
                <a:lnTo>
                  <a:pt x="486" y="117"/>
                </a:lnTo>
                <a:lnTo>
                  <a:pt x="486" y="87"/>
                </a:lnTo>
                <a:lnTo>
                  <a:pt x="498" y="87"/>
                </a:lnTo>
                <a:lnTo>
                  <a:pt x="498" y="117"/>
                </a:lnTo>
                <a:lnTo>
                  <a:pt x="527" y="117"/>
                </a:lnTo>
                <a:lnTo>
                  <a:pt x="527" y="127"/>
                </a:lnTo>
                <a:lnTo>
                  <a:pt x="498" y="127"/>
                </a:lnTo>
                <a:lnTo>
                  <a:pt x="498" y="156"/>
                </a:lnTo>
                <a:lnTo>
                  <a:pt x="486" y="156"/>
                </a:lnTo>
                <a:lnTo>
                  <a:pt x="486" y="127"/>
                </a:lnTo>
                <a:lnTo>
                  <a:pt x="457" y="127"/>
                </a:lnTo>
                <a:close/>
                <a:moveTo>
                  <a:pt x="392" y="156"/>
                </a:moveTo>
                <a:lnTo>
                  <a:pt x="448" y="156"/>
                </a:lnTo>
                <a:lnTo>
                  <a:pt x="448" y="139"/>
                </a:lnTo>
                <a:lnTo>
                  <a:pt x="411" y="139"/>
                </a:lnTo>
                <a:lnTo>
                  <a:pt x="411" y="127"/>
                </a:lnTo>
                <a:lnTo>
                  <a:pt x="442" y="127"/>
                </a:lnTo>
                <a:lnTo>
                  <a:pt x="442" y="111"/>
                </a:lnTo>
                <a:lnTo>
                  <a:pt x="411" y="111"/>
                </a:lnTo>
                <a:lnTo>
                  <a:pt x="411" y="99"/>
                </a:lnTo>
                <a:lnTo>
                  <a:pt x="446" y="99"/>
                </a:lnTo>
                <a:lnTo>
                  <a:pt x="446" y="82"/>
                </a:lnTo>
                <a:lnTo>
                  <a:pt x="392" y="82"/>
                </a:lnTo>
                <a:lnTo>
                  <a:pt x="392" y="156"/>
                </a:lnTo>
                <a:close/>
                <a:moveTo>
                  <a:pt x="309" y="156"/>
                </a:moveTo>
                <a:lnTo>
                  <a:pt x="328" y="156"/>
                </a:lnTo>
                <a:lnTo>
                  <a:pt x="328" y="112"/>
                </a:lnTo>
                <a:lnTo>
                  <a:pt x="354" y="156"/>
                </a:lnTo>
                <a:lnTo>
                  <a:pt x="374" y="156"/>
                </a:lnTo>
                <a:lnTo>
                  <a:pt x="374" y="82"/>
                </a:lnTo>
                <a:lnTo>
                  <a:pt x="356" y="82"/>
                </a:lnTo>
                <a:lnTo>
                  <a:pt x="356" y="126"/>
                </a:lnTo>
                <a:lnTo>
                  <a:pt x="329" y="82"/>
                </a:lnTo>
                <a:lnTo>
                  <a:pt x="309" y="82"/>
                </a:lnTo>
                <a:lnTo>
                  <a:pt x="309" y="156"/>
                </a:lnTo>
                <a:close/>
                <a:moveTo>
                  <a:pt x="226" y="156"/>
                </a:moveTo>
                <a:lnTo>
                  <a:pt x="246" y="156"/>
                </a:lnTo>
                <a:lnTo>
                  <a:pt x="246" y="128"/>
                </a:lnTo>
                <a:lnTo>
                  <a:pt x="272" y="128"/>
                </a:lnTo>
                <a:lnTo>
                  <a:pt x="272" y="156"/>
                </a:lnTo>
                <a:lnTo>
                  <a:pt x="292" y="156"/>
                </a:lnTo>
                <a:lnTo>
                  <a:pt x="292" y="82"/>
                </a:lnTo>
                <a:lnTo>
                  <a:pt x="272" y="82"/>
                </a:lnTo>
                <a:lnTo>
                  <a:pt x="272" y="110"/>
                </a:lnTo>
                <a:lnTo>
                  <a:pt x="246" y="110"/>
                </a:lnTo>
                <a:lnTo>
                  <a:pt x="246" y="82"/>
                </a:lnTo>
                <a:lnTo>
                  <a:pt x="226" y="82"/>
                </a:lnTo>
                <a:lnTo>
                  <a:pt x="226" y="156"/>
                </a:lnTo>
                <a:close/>
                <a:moveTo>
                  <a:pt x="155" y="156"/>
                </a:moveTo>
                <a:lnTo>
                  <a:pt x="211" y="156"/>
                </a:lnTo>
                <a:lnTo>
                  <a:pt x="211" y="139"/>
                </a:lnTo>
                <a:lnTo>
                  <a:pt x="174" y="139"/>
                </a:lnTo>
                <a:lnTo>
                  <a:pt x="174" y="127"/>
                </a:lnTo>
                <a:lnTo>
                  <a:pt x="205" y="127"/>
                </a:lnTo>
                <a:lnTo>
                  <a:pt x="205" y="111"/>
                </a:lnTo>
                <a:lnTo>
                  <a:pt x="174" y="111"/>
                </a:lnTo>
                <a:lnTo>
                  <a:pt x="174" y="99"/>
                </a:lnTo>
                <a:lnTo>
                  <a:pt x="209" y="99"/>
                </a:lnTo>
                <a:lnTo>
                  <a:pt x="209" y="82"/>
                </a:lnTo>
                <a:lnTo>
                  <a:pt x="155" y="82"/>
                </a:lnTo>
                <a:lnTo>
                  <a:pt x="155" y="156"/>
                </a:lnTo>
                <a:close/>
                <a:moveTo>
                  <a:pt x="74" y="126"/>
                </a:moveTo>
                <a:lnTo>
                  <a:pt x="74" y="126"/>
                </a:lnTo>
                <a:lnTo>
                  <a:pt x="74" y="134"/>
                </a:lnTo>
                <a:lnTo>
                  <a:pt x="76" y="142"/>
                </a:lnTo>
                <a:lnTo>
                  <a:pt x="79" y="147"/>
                </a:lnTo>
                <a:lnTo>
                  <a:pt x="83" y="151"/>
                </a:lnTo>
                <a:lnTo>
                  <a:pt x="89" y="155"/>
                </a:lnTo>
                <a:lnTo>
                  <a:pt x="94" y="157"/>
                </a:lnTo>
                <a:lnTo>
                  <a:pt x="99" y="158"/>
                </a:lnTo>
                <a:lnTo>
                  <a:pt x="107" y="159"/>
                </a:lnTo>
                <a:lnTo>
                  <a:pt x="113" y="158"/>
                </a:lnTo>
                <a:lnTo>
                  <a:pt x="118" y="157"/>
                </a:lnTo>
                <a:lnTo>
                  <a:pt x="124" y="155"/>
                </a:lnTo>
                <a:lnTo>
                  <a:pt x="129" y="151"/>
                </a:lnTo>
                <a:lnTo>
                  <a:pt x="133" y="147"/>
                </a:lnTo>
                <a:lnTo>
                  <a:pt x="136" y="142"/>
                </a:lnTo>
                <a:lnTo>
                  <a:pt x="138" y="134"/>
                </a:lnTo>
                <a:lnTo>
                  <a:pt x="138" y="126"/>
                </a:lnTo>
                <a:lnTo>
                  <a:pt x="138" y="82"/>
                </a:lnTo>
                <a:lnTo>
                  <a:pt x="118" y="82"/>
                </a:lnTo>
                <a:lnTo>
                  <a:pt x="118" y="129"/>
                </a:lnTo>
                <a:lnTo>
                  <a:pt x="117" y="134"/>
                </a:lnTo>
                <a:lnTo>
                  <a:pt x="115" y="138"/>
                </a:lnTo>
                <a:lnTo>
                  <a:pt x="112" y="142"/>
                </a:lnTo>
                <a:lnTo>
                  <a:pt x="107" y="142"/>
                </a:lnTo>
                <a:lnTo>
                  <a:pt x="100" y="142"/>
                </a:lnTo>
                <a:lnTo>
                  <a:pt x="97" y="138"/>
                </a:lnTo>
                <a:lnTo>
                  <a:pt x="94" y="134"/>
                </a:lnTo>
                <a:lnTo>
                  <a:pt x="94" y="129"/>
                </a:lnTo>
                <a:lnTo>
                  <a:pt x="94" y="82"/>
                </a:lnTo>
                <a:lnTo>
                  <a:pt x="74" y="82"/>
                </a:lnTo>
                <a:lnTo>
                  <a:pt x="74" y="126"/>
                </a:lnTo>
                <a:close/>
                <a:moveTo>
                  <a:pt x="0" y="156"/>
                </a:moveTo>
                <a:lnTo>
                  <a:pt x="20" y="156"/>
                </a:lnTo>
                <a:lnTo>
                  <a:pt x="20" y="135"/>
                </a:lnTo>
                <a:lnTo>
                  <a:pt x="26" y="127"/>
                </a:lnTo>
                <a:lnTo>
                  <a:pt x="43" y="156"/>
                </a:lnTo>
                <a:lnTo>
                  <a:pt x="66" y="156"/>
                </a:lnTo>
                <a:lnTo>
                  <a:pt x="40" y="112"/>
                </a:lnTo>
                <a:lnTo>
                  <a:pt x="63" y="82"/>
                </a:lnTo>
                <a:lnTo>
                  <a:pt x="40" y="82"/>
                </a:lnTo>
                <a:lnTo>
                  <a:pt x="20" y="109"/>
                </a:lnTo>
                <a:lnTo>
                  <a:pt x="20" y="82"/>
                </a:lnTo>
                <a:lnTo>
                  <a:pt x="0" y="82"/>
                </a:lnTo>
                <a:lnTo>
                  <a:pt x="0" y="1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Text Placeholder 2"/>
          <p:cNvSpPr>
            <a:spLocks noGrp="1"/>
          </p:cNvSpPr>
          <p:nvPr>
            <p:ph type="body" sz="quarter" idx="14"/>
          </p:nvPr>
        </p:nvSpPr>
        <p:spPr>
          <a:xfrm>
            <a:off x="550864" y="1989139"/>
            <a:ext cx="2773362" cy="4321174"/>
          </a:xfrm>
          <a:prstGeom prst="rect">
            <a:avLst/>
          </a:prstGeom>
        </p:spPr>
        <p:txBody>
          <a:bodyPr>
            <a:noAutofit/>
          </a:bodyPr>
          <a:lstStyle>
            <a:lvl1pPr marL="0" indent="0">
              <a:lnSpc>
                <a:spcPct val="100000"/>
              </a:lnSpc>
              <a:spcBef>
                <a:spcPts val="0"/>
              </a:spcBef>
              <a:spcAft>
                <a:spcPts val="1200"/>
              </a:spcAft>
              <a:buNone/>
              <a:defRPr sz="1800" b="0" baseline="0">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0" name="Titel 4"/>
          <p:cNvSpPr>
            <a:spLocks noGrp="1"/>
          </p:cNvSpPr>
          <p:nvPr>
            <p:ph type="title"/>
          </p:nvPr>
        </p:nvSpPr>
        <p:spPr>
          <a:xfrm>
            <a:off x="553321" y="550779"/>
            <a:ext cx="2770905" cy="1438360"/>
          </a:xfrm>
        </p:spPr>
        <p:txBody>
          <a:bodyPr/>
          <a:lstStyle/>
          <a:p>
            <a:pPr lvl="0"/>
            <a:r>
              <a:rPr lang="en-US" noProof="0"/>
              <a:t>Click to edit Master title style</a:t>
            </a:r>
            <a:endParaRPr lang="de-DE" dirty="0"/>
          </a:p>
        </p:txBody>
      </p:sp>
      <p:sp>
        <p:nvSpPr>
          <p:cNvPr id="4" name="Slide Number Placeholder 3">
            <a:extLst>
              <a:ext uri="{FF2B5EF4-FFF2-40B4-BE49-F238E27FC236}">
                <a16:creationId xmlns:a16="http://schemas.microsoft.com/office/drawing/2014/main" id="{7BD08DD8-9D38-04E6-9B8F-4A0BBF9D206B}"/>
              </a:ext>
            </a:extLst>
          </p:cNvPr>
          <p:cNvSpPr>
            <a:spLocks noGrp="1"/>
          </p:cNvSpPr>
          <p:nvPr>
            <p:ph type="sldNum" sz="quarter" idx="15"/>
          </p:nvPr>
        </p:nvSpPr>
        <p:spPr/>
        <p:txBody>
          <a:bodyPr/>
          <a:lstStyle>
            <a:lvl1pPr algn="r">
              <a:defRPr sz="1000">
                <a:solidFill>
                  <a:schemeClr val="bg1"/>
                </a:solidFill>
              </a:defRPr>
            </a:lvl1pPr>
          </a:lstStyle>
          <a:p>
            <a:pPr>
              <a:defRPr/>
            </a:pPr>
            <a:fld id="{F80882BC-C6AB-4540-AD16-FC3E155DB59E}" type="slidenum">
              <a:rPr lang="en-GB"/>
              <a:pPr>
                <a:defRPr/>
              </a:pPr>
              <a:t>‹#›</a:t>
            </a:fld>
            <a:endParaRPr lang="en-GB" dirty="0"/>
          </a:p>
        </p:txBody>
      </p:sp>
    </p:spTree>
    <p:extLst>
      <p:ext uri="{BB962C8B-B14F-4D97-AF65-F5344CB8AC3E}">
        <p14:creationId xmlns:p14="http://schemas.microsoft.com/office/powerpoint/2010/main" val="3156747937"/>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eft_text+GreyBG_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B70AE8E-8D03-1E80-3413-A709B29FFDAF}"/>
              </a:ext>
            </a:extLst>
          </p:cNvPr>
          <p:cNvSpPr/>
          <p:nvPr/>
        </p:nvSpPr>
        <p:spPr>
          <a:xfrm>
            <a:off x="4019550" y="0"/>
            <a:ext cx="8172450" cy="6858000"/>
          </a:xfrm>
          <a:prstGeom prst="rect">
            <a:avLst/>
          </a:prstGeom>
          <a:solidFill>
            <a:srgbClr val="F6F5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7">
            <a:extLst>
              <a:ext uri="{FF2B5EF4-FFF2-40B4-BE49-F238E27FC236}">
                <a16:creationId xmlns:a16="http://schemas.microsoft.com/office/drawing/2014/main" id="{57A8B1E0-314A-7794-D1B6-C9851D83C05A}"/>
              </a:ext>
            </a:extLst>
          </p:cNvPr>
          <p:cNvSpPr>
            <a:spLocks noEditPoints="1"/>
          </p:cNvSpPr>
          <p:nvPr/>
        </p:nvSpPr>
        <p:spPr bwMode="auto">
          <a:xfrm>
            <a:off x="9721850" y="563563"/>
            <a:ext cx="1908175" cy="377825"/>
          </a:xfrm>
          <a:custGeom>
            <a:avLst/>
            <a:gdLst>
              <a:gd name="T0" fmla="*/ 1715032 w 3609"/>
              <a:gd name="T1" fmla="*/ 110838 h 723"/>
              <a:gd name="T2" fmla="*/ 1734594 w 3609"/>
              <a:gd name="T3" fmla="*/ 129137 h 723"/>
              <a:gd name="T4" fmla="*/ 1711332 w 3609"/>
              <a:gd name="T5" fmla="*/ 147959 h 723"/>
              <a:gd name="T6" fmla="*/ 1592379 w 3609"/>
              <a:gd name="T7" fmla="*/ 333560 h 723"/>
              <a:gd name="T8" fmla="*/ 1665337 w 3609"/>
              <a:gd name="T9" fmla="*/ 371203 h 723"/>
              <a:gd name="T10" fmla="*/ 1740938 w 3609"/>
              <a:gd name="T11" fmla="*/ 376432 h 723"/>
              <a:gd name="T12" fmla="*/ 1818653 w 3609"/>
              <a:gd name="T13" fmla="*/ 347676 h 723"/>
              <a:gd name="T14" fmla="*/ 1766843 w 3609"/>
              <a:gd name="T15" fmla="*/ 337220 h 723"/>
              <a:gd name="T16" fmla="*/ 1738294 w 3609"/>
              <a:gd name="T17" fmla="*/ 165212 h 723"/>
              <a:gd name="T18" fmla="*/ 1758384 w 3609"/>
              <a:gd name="T19" fmla="*/ 121295 h 723"/>
              <a:gd name="T20" fmla="*/ 1732479 w 3609"/>
              <a:gd name="T21" fmla="*/ 90448 h 723"/>
              <a:gd name="T22" fmla="*/ 1694414 w 3609"/>
              <a:gd name="T23" fmla="*/ 92017 h 723"/>
              <a:gd name="T24" fmla="*/ 1671681 w 3609"/>
              <a:gd name="T25" fmla="*/ 125477 h 723"/>
              <a:gd name="T26" fmla="*/ 1698643 w 3609"/>
              <a:gd name="T27" fmla="*/ 167303 h 723"/>
              <a:gd name="T28" fmla="*/ 1654234 w 3609"/>
              <a:gd name="T29" fmla="*/ 333560 h 723"/>
              <a:gd name="T30" fmla="*/ 1525766 w 3609"/>
              <a:gd name="T31" fmla="*/ 158938 h 723"/>
              <a:gd name="T32" fmla="*/ 1561187 w 3609"/>
              <a:gd name="T33" fmla="*/ 75286 h 723"/>
              <a:gd name="T34" fmla="*/ 1632559 w 3609"/>
              <a:gd name="T35" fmla="*/ 18299 h 723"/>
              <a:gd name="T36" fmla="*/ 1715561 w 3609"/>
              <a:gd name="T37" fmla="*/ 0 h 723"/>
              <a:gd name="T38" fmla="*/ 1807022 w 3609"/>
              <a:gd name="T39" fmla="*/ 22481 h 723"/>
              <a:gd name="T40" fmla="*/ 1875222 w 3609"/>
              <a:gd name="T41" fmla="*/ 82083 h 723"/>
              <a:gd name="T42" fmla="*/ 1906943 w 3609"/>
              <a:gd name="T43" fmla="*/ 168349 h 723"/>
              <a:gd name="T44" fmla="*/ 1898484 w 3609"/>
              <a:gd name="T45" fmla="*/ 246249 h 723"/>
              <a:gd name="T46" fmla="*/ 1836628 w 3609"/>
              <a:gd name="T47" fmla="*/ 286506 h 723"/>
              <a:gd name="T48" fmla="*/ 1872050 w 3609"/>
              <a:gd name="T49" fmla="*/ 187170 h 723"/>
              <a:gd name="T50" fmla="*/ 1853017 w 3609"/>
              <a:gd name="T51" fmla="*/ 113452 h 723"/>
              <a:gd name="T52" fmla="*/ 1802793 w 3609"/>
              <a:gd name="T53" fmla="*/ 58556 h 723"/>
              <a:gd name="T54" fmla="*/ 1731421 w 3609"/>
              <a:gd name="T55" fmla="*/ 32938 h 723"/>
              <a:gd name="T56" fmla="*/ 1662165 w 3609"/>
              <a:gd name="T57" fmla="*/ 41826 h 723"/>
              <a:gd name="T58" fmla="*/ 1600309 w 3609"/>
              <a:gd name="T59" fmla="*/ 83651 h 723"/>
              <a:gd name="T60" fmla="*/ 1564359 w 3609"/>
              <a:gd name="T61" fmla="*/ 149004 h 723"/>
              <a:gd name="T62" fmla="*/ 1568589 w 3609"/>
              <a:gd name="T63" fmla="*/ 239975 h 723"/>
              <a:gd name="T64" fmla="*/ 1550085 w 3609"/>
              <a:gd name="T65" fmla="*/ 283892 h 723"/>
              <a:gd name="T66" fmla="*/ 1523651 w 3609"/>
              <a:gd name="T67" fmla="*/ 205469 h 723"/>
              <a:gd name="T68" fmla="*/ 1358175 w 3609"/>
              <a:gd name="T69" fmla="*/ 246772 h 723"/>
              <a:gd name="T70" fmla="*/ 1332269 w 3609"/>
              <a:gd name="T71" fmla="*/ 155278 h 723"/>
              <a:gd name="T72" fmla="*/ 1118155 w 3609"/>
              <a:gd name="T73" fmla="*/ 157892 h 723"/>
              <a:gd name="T74" fmla="*/ 1163092 w 3609"/>
              <a:gd name="T75" fmla="*/ 126523 h 723"/>
              <a:gd name="T76" fmla="*/ 1206973 w 3609"/>
              <a:gd name="T77" fmla="*/ 139071 h 723"/>
              <a:gd name="T78" fmla="*/ 1188998 w 3609"/>
              <a:gd name="T79" fmla="*/ 162075 h 723"/>
              <a:gd name="T80" fmla="*/ 1163621 w 3609"/>
              <a:gd name="T81" fmla="*/ 153187 h 723"/>
              <a:gd name="T82" fmla="*/ 1143002 w 3609"/>
              <a:gd name="T83" fmla="*/ 188216 h 723"/>
              <a:gd name="T84" fmla="*/ 1168379 w 3609"/>
              <a:gd name="T85" fmla="*/ 224813 h 723"/>
              <a:gd name="T86" fmla="*/ 1221776 w 3609"/>
              <a:gd name="T87" fmla="*/ 181419 h 723"/>
              <a:gd name="T88" fmla="*/ 1173666 w 3609"/>
              <a:gd name="T89" fmla="*/ 250954 h 723"/>
              <a:gd name="T90" fmla="*/ 1123970 w 3609"/>
              <a:gd name="T91" fmla="*/ 230041 h 723"/>
              <a:gd name="T92" fmla="*/ 1043611 w 3609"/>
              <a:gd name="T93" fmla="*/ 160506 h 723"/>
              <a:gd name="T94" fmla="*/ 1026693 w 3609"/>
              <a:gd name="T95" fmla="*/ 129660 h 723"/>
              <a:gd name="T96" fmla="*/ 894524 w 3609"/>
              <a:gd name="T97" fmla="*/ 129660 h 723"/>
              <a:gd name="T98" fmla="*/ 841656 w 3609"/>
              <a:gd name="T99" fmla="*/ 200241 h 723"/>
              <a:gd name="T100" fmla="*/ 656090 w 3609"/>
              <a:gd name="T101" fmla="*/ 200241 h 723"/>
              <a:gd name="T102" fmla="*/ 523392 w 3609"/>
              <a:gd name="T103" fmla="*/ 246772 h 723"/>
              <a:gd name="T104" fmla="*/ 360030 w 3609"/>
              <a:gd name="T105" fmla="*/ 246772 h 723"/>
              <a:gd name="T106" fmla="*/ 391222 w 3609"/>
              <a:gd name="T107" fmla="*/ 129660 h 723"/>
              <a:gd name="T108" fmla="*/ 278085 w 3609"/>
              <a:gd name="T109" fmla="*/ 175668 h 723"/>
              <a:gd name="T110" fmla="*/ 119481 w 3609"/>
              <a:gd name="T111" fmla="*/ 218017 h 723"/>
              <a:gd name="T112" fmla="*/ 154374 w 3609"/>
              <a:gd name="T113" fmla="*/ 249909 h 723"/>
              <a:gd name="T114" fmla="*/ 197726 w 3609"/>
              <a:gd name="T115" fmla="*/ 244680 h 723"/>
              <a:gd name="T116" fmla="*/ 220988 w 3609"/>
              <a:gd name="T117" fmla="*/ 198672 h 723"/>
              <a:gd name="T118" fmla="*/ 177636 w 3609"/>
              <a:gd name="T119" fmla="*/ 223245 h 723"/>
              <a:gd name="T120" fmla="*/ 149616 w 3609"/>
              <a:gd name="T121" fmla="*/ 208083 h 723"/>
              <a:gd name="T122" fmla="*/ 106264 w 3609"/>
              <a:gd name="T123" fmla="*/ 246772 h 7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609" h="723">
                <a:moveTo>
                  <a:pt x="3208" y="247"/>
                </a:moveTo>
                <a:lnTo>
                  <a:pt x="3208" y="247"/>
                </a:lnTo>
                <a:lnTo>
                  <a:pt x="3210" y="240"/>
                </a:lnTo>
                <a:lnTo>
                  <a:pt x="3212" y="233"/>
                </a:lnTo>
                <a:lnTo>
                  <a:pt x="3215" y="227"/>
                </a:lnTo>
                <a:lnTo>
                  <a:pt x="3220" y="222"/>
                </a:lnTo>
                <a:lnTo>
                  <a:pt x="3225" y="217"/>
                </a:lnTo>
                <a:lnTo>
                  <a:pt x="3231" y="214"/>
                </a:lnTo>
                <a:lnTo>
                  <a:pt x="3237" y="212"/>
                </a:lnTo>
                <a:lnTo>
                  <a:pt x="3244" y="212"/>
                </a:lnTo>
                <a:lnTo>
                  <a:pt x="3252" y="212"/>
                </a:lnTo>
                <a:lnTo>
                  <a:pt x="3258" y="214"/>
                </a:lnTo>
                <a:lnTo>
                  <a:pt x="3265" y="217"/>
                </a:lnTo>
                <a:lnTo>
                  <a:pt x="3271" y="222"/>
                </a:lnTo>
                <a:lnTo>
                  <a:pt x="3275" y="227"/>
                </a:lnTo>
                <a:lnTo>
                  <a:pt x="3278" y="233"/>
                </a:lnTo>
                <a:lnTo>
                  <a:pt x="3281" y="240"/>
                </a:lnTo>
                <a:lnTo>
                  <a:pt x="3281" y="247"/>
                </a:lnTo>
                <a:lnTo>
                  <a:pt x="3281" y="255"/>
                </a:lnTo>
                <a:lnTo>
                  <a:pt x="3278" y="262"/>
                </a:lnTo>
                <a:lnTo>
                  <a:pt x="3275" y="268"/>
                </a:lnTo>
                <a:lnTo>
                  <a:pt x="3271" y="273"/>
                </a:lnTo>
                <a:lnTo>
                  <a:pt x="3265" y="277"/>
                </a:lnTo>
                <a:lnTo>
                  <a:pt x="3258" y="281"/>
                </a:lnTo>
                <a:lnTo>
                  <a:pt x="3252" y="283"/>
                </a:lnTo>
                <a:lnTo>
                  <a:pt x="3244" y="284"/>
                </a:lnTo>
                <a:lnTo>
                  <a:pt x="3237" y="283"/>
                </a:lnTo>
                <a:lnTo>
                  <a:pt x="3231" y="281"/>
                </a:lnTo>
                <a:lnTo>
                  <a:pt x="3225" y="277"/>
                </a:lnTo>
                <a:lnTo>
                  <a:pt x="3220" y="273"/>
                </a:lnTo>
                <a:lnTo>
                  <a:pt x="3215" y="268"/>
                </a:lnTo>
                <a:lnTo>
                  <a:pt x="3212" y="262"/>
                </a:lnTo>
                <a:lnTo>
                  <a:pt x="3210" y="255"/>
                </a:lnTo>
                <a:lnTo>
                  <a:pt x="3208" y="247"/>
                </a:lnTo>
                <a:close/>
                <a:moveTo>
                  <a:pt x="3012" y="638"/>
                </a:moveTo>
                <a:lnTo>
                  <a:pt x="3012" y="638"/>
                </a:lnTo>
                <a:lnTo>
                  <a:pt x="3024" y="648"/>
                </a:lnTo>
                <a:lnTo>
                  <a:pt x="3037" y="656"/>
                </a:lnTo>
                <a:lnTo>
                  <a:pt x="3050" y="665"/>
                </a:lnTo>
                <a:lnTo>
                  <a:pt x="3063" y="674"/>
                </a:lnTo>
                <a:lnTo>
                  <a:pt x="3076" y="682"/>
                </a:lnTo>
                <a:lnTo>
                  <a:pt x="3091" y="689"/>
                </a:lnTo>
                <a:lnTo>
                  <a:pt x="3105" y="695"/>
                </a:lnTo>
                <a:lnTo>
                  <a:pt x="3120" y="701"/>
                </a:lnTo>
                <a:lnTo>
                  <a:pt x="3134" y="705"/>
                </a:lnTo>
                <a:lnTo>
                  <a:pt x="3150" y="710"/>
                </a:lnTo>
                <a:lnTo>
                  <a:pt x="3165" y="714"/>
                </a:lnTo>
                <a:lnTo>
                  <a:pt x="3181" y="717"/>
                </a:lnTo>
                <a:lnTo>
                  <a:pt x="3196" y="720"/>
                </a:lnTo>
                <a:lnTo>
                  <a:pt x="3213" y="721"/>
                </a:lnTo>
                <a:lnTo>
                  <a:pt x="3228" y="722"/>
                </a:lnTo>
                <a:lnTo>
                  <a:pt x="3245" y="723"/>
                </a:lnTo>
                <a:lnTo>
                  <a:pt x="3261" y="722"/>
                </a:lnTo>
                <a:lnTo>
                  <a:pt x="3277" y="721"/>
                </a:lnTo>
                <a:lnTo>
                  <a:pt x="3293" y="720"/>
                </a:lnTo>
                <a:lnTo>
                  <a:pt x="3309" y="717"/>
                </a:lnTo>
                <a:lnTo>
                  <a:pt x="3325" y="714"/>
                </a:lnTo>
                <a:lnTo>
                  <a:pt x="3341" y="710"/>
                </a:lnTo>
                <a:lnTo>
                  <a:pt x="3355" y="705"/>
                </a:lnTo>
                <a:lnTo>
                  <a:pt x="3370" y="701"/>
                </a:lnTo>
                <a:lnTo>
                  <a:pt x="3385" y="695"/>
                </a:lnTo>
                <a:lnTo>
                  <a:pt x="3399" y="689"/>
                </a:lnTo>
                <a:lnTo>
                  <a:pt x="3414" y="682"/>
                </a:lnTo>
                <a:lnTo>
                  <a:pt x="3427" y="674"/>
                </a:lnTo>
                <a:lnTo>
                  <a:pt x="3440" y="665"/>
                </a:lnTo>
                <a:lnTo>
                  <a:pt x="3454" y="656"/>
                </a:lnTo>
                <a:lnTo>
                  <a:pt x="3466" y="648"/>
                </a:lnTo>
                <a:lnTo>
                  <a:pt x="3477" y="638"/>
                </a:lnTo>
                <a:lnTo>
                  <a:pt x="3433" y="590"/>
                </a:lnTo>
                <a:lnTo>
                  <a:pt x="3416" y="604"/>
                </a:lnTo>
                <a:lnTo>
                  <a:pt x="3398" y="617"/>
                </a:lnTo>
                <a:lnTo>
                  <a:pt x="3380" y="628"/>
                </a:lnTo>
                <a:lnTo>
                  <a:pt x="3362" y="638"/>
                </a:lnTo>
                <a:lnTo>
                  <a:pt x="3342" y="645"/>
                </a:lnTo>
                <a:lnTo>
                  <a:pt x="3321" y="652"/>
                </a:lnTo>
                <a:lnTo>
                  <a:pt x="3299" y="658"/>
                </a:lnTo>
                <a:lnTo>
                  <a:pt x="3277" y="660"/>
                </a:lnTo>
                <a:lnTo>
                  <a:pt x="3277" y="406"/>
                </a:lnTo>
                <a:lnTo>
                  <a:pt x="3339" y="406"/>
                </a:lnTo>
                <a:lnTo>
                  <a:pt x="3339" y="358"/>
                </a:lnTo>
                <a:lnTo>
                  <a:pt x="3277" y="358"/>
                </a:lnTo>
                <a:lnTo>
                  <a:pt x="3277" y="320"/>
                </a:lnTo>
                <a:lnTo>
                  <a:pt x="3288" y="316"/>
                </a:lnTo>
                <a:lnTo>
                  <a:pt x="3297" y="309"/>
                </a:lnTo>
                <a:lnTo>
                  <a:pt x="3306" y="302"/>
                </a:lnTo>
                <a:lnTo>
                  <a:pt x="3314" y="293"/>
                </a:lnTo>
                <a:lnTo>
                  <a:pt x="3319" y="284"/>
                </a:lnTo>
                <a:lnTo>
                  <a:pt x="3324" y="273"/>
                </a:lnTo>
                <a:lnTo>
                  <a:pt x="3327" y="261"/>
                </a:lnTo>
                <a:lnTo>
                  <a:pt x="3328" y="248"/>
                </a:lnTo>
                <a:lnTo>
                  <a:pt x="3327" y="240"/>
                </a:lnTo>
                <a:lnTo>
                  <a:pt x="3326" y="232"/>
                </a:lnTo>
                <a:lnTo>
                  <a:pt x="3324" y="224"/>
                </a:lnTo>
                <a:lnTo>
                  <a:pt x="3322" y="216"/>
                </a:lnTo>
                <a:lnTo>
                  <a:pt x="3318" y="208"/>
                </a:lnTo>
                <a:lnTo>
                  <a:pt x="3314" y="202"/>
                </a:lnTo>
                <a:lnTo>
                  <a:pt x="3309" y="195"/>
                </a:lnTo>
                <a:lnTo>
                  <a:pt x="3304" y="190"/>
                </a:lnTo>
                <a:lnTo>
                  <a:pt x="3298" y="185"/>
                </a:lnTo>
                <a:lnTo>
                  <a:pt x="3292" y="180"/>
                </a:lnTo>
                <a:lnTo>
                  <a:pt x="3285" y="176"/>
                </a:lnTo>
                <a:lnTo>
                  <a:pt x="3277" y="173"/>
                </a:lnTo>
                <a:lnTo>
                  <a:pt x="3270" y="170"/>
                </a:lnTo>
                <a:lnTo>
                  <a:pt x="3262" y="167"/>
                </a:lnTo>
                <a:lnTo>
                  <a:pt x="3254" y="166"/>
                </a:lnTo>
                <a:lnTo>
                  <a:pt x="3245" y="166"/>
                </a:lnTo>
                <a:lnTo>
                  <a:pt x="3236" y="166"/>
                </a:lnTo>
                <a:lnTo>
                  <a:pt x="3228" y="167"/>
                </a:lnTo>
                <a:lnTo>
                  <a:pt x="3221" y="170"/>
                </a:lnTo>
                <a:lnTo>
                  <a:pt x="3213" y="173"/>
                </a:lnTo>
                <a:lnTo>
                  <a:pt x="3205" y="176"/>
                </a:lnTo>
                <a:lnTo>
                  <a:pt x="3199" y="180"/>
                </a:lnTo>
                <a:lnTo>
                  <a:pt x="3192" y="185"/>
                </a:lnTo>
                <a:lnTo>
                  <a:pt x="3186" y="190"/>
                </a:lnTo>
                <a:lnTo>
                  <a:pt x="3181" y="195"/>
                </a:lnTo>
                <a:lnTo>
                  <a:pt x="3176" y="202"/>
                </a:lnTo>
                <a:lnTo>
                  <a:pt x="3172" y="208"/>
                </a:lnTo>
                <a:lnTo>
                  <a:pt x="3169" y="216"/>
                </a:lnTo>
                <a:lnTo>
                  <a:pt x="3165" y="224"/>
                </a:lnTo>
                <a:lnTo>
                  <a:pt x="3163" y="232"/>
                </a:lnTo>
                <a:lnTo>
                  <a:pt x="3162" y="240"/>
                </a:lnTo>
                <a:lnTo>
                  <a:pt x="3162" y="248"/>
                </a:lnTo>
                <a:lnTo>
                  <a:pt x="3163" y="261"/>
                </a:lnTo>
                <a:lnTo>
                  <a:pt x="3165" y="273"/>
                </a:lnTo>
                <a:lnTo>
                  <a:pt x="3170" y="284"/>
                </a:lnTo>
                <a:lnTo>
                  <a:pt x="3176" y="293"/>
                </a:lnTo>
                <a:lnTo>
                  <a:pt x="3183" y="302"/>
                </a:lnTo>
                <a:lnTo>
                  <a:pt x="3192" y="309"/>
                </a:lnTo>
                <a:lnTo>
                  <a:pt x="3202" y="316"/>
                </a:lnTo>
                <a:lnTo>
                  <a:pt x="3213" y="320"/>
                </a:lnTo>
                <a:lnTo>
                  <a:pt x="3213" y="358"/>
                </a:lnTo>
                <a:lnTo>
                  <a:pt x="3151" y="358"/>
                </a:lnTo>
                <a:lnTo>
                  <a:pt x="3151" y="406"/>
                </a:lnTo>
                <a:lnTo>
                  <a:pt x="3213" y="406"/>
                </a:lnTo>
                <a:lnTo>
                  <a:pt x="3213" y="660"/>
                </a:lnTo>
                <a:lnTo>
                  <a:pt x="3191" y="658"/>
                </a:lnTo>
                <a:lnTo>
                  <a:pt x="3170" y="652"/>
                </a:lnTo>
                <a:lnTo>
                  <a:pt x="3149" y="645"/>
                </a:lnTo>
                <a:lnTo>
                  <a:pt x="3129" y="638"/>
                </a:lnTo>
                <a:lnTo>
                  <a:pt x="3110" y="628"/>
                </a:lnTo>
                <a:lnTo>
                  <a:pt x="3091" y="617"/>
                </a:lnTo>
                <a:lnTo>
                  <a:pt x="3074" y="604"/>
                </a:lnTo>
                <a:lnTo>
                  <a:pt x="3058" y="590"/>
                </a:lnTo>
                <a:lnTo>
                  <a:pt x="3012" y="638"/>
                </a:lnTo>
                <a:close/>
                <a:moveTo>
                  <a:pt x="2881" y="358"/>
                </a:moveTo>
                <a:lnTo>
                  <a:pt x="2881" y="358"/>
                </a:lnTo>
                <a:lnTo>
                  <a:pt x="2881" y="340"/>
                </a:lnTo>
                <a:lnTo>
                  <a:pt x="2883" y="322"/>
                </a:lnTo>
                <a:lnTo>
                  <a:pt x="2886" y="304"/>
                </a:lnTo>
                <a:lnTo>
                  <a:pt x="2889" y="286"/>
                </a:lnTo>
                <a:lnTo>
                  <a:pt x="2892" y="269"/>
                </a:lnTo>
                <a:lnTo>
                  <a:pt x="2898" y="252"/>
                </a:lnTo>
                <a:lnTo>
                  <a:pt x="2903" y="235"/>
                </a:lnTo>
                <a:lnTo>
                  <a:pt x="2910" y="218"/>
                </a:lnTo>
                <a:lnTo>
                  <a:pt x="2917" y="203"/>
                </a:lnTo>
                <a:lnTo>
                  <a:pt x="2926" y="187"/>
                </a:lnTo>
                <a:lnTo>
                  <a:pt x="2933" y="173"/>
                </a:lnTo>
                <a:lnTo>
                  <a:pt x="2943" y="157"/>
                </a:lnTo>
                <a:lnTo>
                  <a:pt x="2953" y="144"/>
                </a:lnTo>
                <a:lnTo>
                  <a:pt x="2964" y="131"/>
                </a:lnTo>
                <a:lnTo>
                  <a:pt x="2976" y="118"/>
                </a:lnTo>
                <a:lnTo>
                  <a:pt x="2988" y="104"/>
                </a:lnTo>
                <a:lnTo>
                  <a:pt x="3001" y="93"/>
                </a:lnTo>
                <a:lnTo>
                  <a:pt x="3013" y="82"/>
                </a:lnTo>
                <a:lnTo>
                  <a:pt x="3028" y="71"/>
                </a:lnTo>
                <a:lnTo>
                  <a:pt x="3042" y="61"/>
                </a:lnTo>
                <a:lnTo>
                  <a:pt x="3057" y="51"/>
                </a:lnTo>
                <a:lnTo>
                  <a:pt x="3072" y="43"/>
                </a:lnTo>
                <a:lnTo>
                  <a:pt x="3088" y="35"/>
                </a:lnTo>
                <a:lnTo>
                  <a:pt x="3103" y="28"/>
                </a:lnTo>
                <a:lnTo>
                  <a:pt x="3120" y="21"/>
                </a:lnTo>
                <a:lnTo>
                  <a:pt x="3137" y="16"/>
                </a:lnTo>
                <a:lnTo>
                  <a:pt x="3154" y="11"/>
                </a:lnTo>
                <a:lnTo>
                  <a:pt x="3172" y="7"/>
                </a:lnTo>
                <a:lnTo>
                  <a:pt x="3190" y="3"/>
                </a:lnTo>
                <a:lnTo>
                  <a:pt x="3207" y="1"/>
                </a:lnTo>
                <a:lnTo>
                  <a:pt x="3226" y="0"/>
                </a:lnTo>
                <a:lnTo>
                  <a:pt x="3245" y="0"/>
                </a:lnTo>
                <a:lnTo>
                  <a:pt x="3264" y="0"/>
                </a:lnTo>
                <a:lnTo>
                  <a:pt x="3282" y="1"/>
                </a:lnTo>
                <a:lnTo>
                  <a:pt x="3301" y="3"/>
                </a:lnTo>
                <a:lnTo>
                  <a:pt x="3318" y="7"/>
                </a:lnTo>
                <a:lnTo>
                  <a:pt x="3336" y="11"/>
                </a:lnTo>
                <a:lnTo>
                  <a:pt x="3353" y="16"/>
                </a:lnTo>
                <a:lnTo>
                  <a:pt x="3369" y="21"/>
                </a:lnTo>
                <a:lnTo>
                  <a:pt x="3386" y="28"/>
                </a:lnTo>
                <a:lnTo>
                  <a:pt x="3403" y="35"/>
                </a:lnTo>
                <a:lnTo>
                  <a:pt x="3418" y="43"/>
                </a:lnTo>
                <a:lnTo>
                  <a:pt x="3434" y="51"/>
                </a:lnTo>
                <a:lnTo>
                  <a:pt x="3448" y="61"/>
                </a:lnTo>
                <a:lnTo>
                  <a:pt x="3463" y="71"/>
                </a:lnTo>
                <a:lnTo>
                  <a:pt x="3476" y="82"/>
                </a:lnTo>
                <a:lnTo>
                  <a:pt x="3489" y="93"/>
                </a:lnTo>
                <a:lnTo>
                  <a:pt x="3502" y="104"/>
                </a:lnTo>
                <a:lnTo>
                  <a:pt x="3515" y="118"/>
                </a:lnTo>
                <a:lnTo>
                  <a:pt x="3526" y="131"/>
                </a:lnTo>
                <a:lnTo>
                  <a:pt x="3537" y="144"/>
                </a:lnTo>
                <a:lnTo>
                  <a:pt x="3547" y="157"/>
                </a:lnTo>
                <a:lnTo>
                  <a:pt x="3556" y="173"/>
                </a:lnTo>
                <a:lnTo>
                  <a:pt x="3565" y="187"/>
                </a:lnTo>
                <a:lnTo>
                  <a:pt x="3572" y="203"/>
                </a:lnTo>
                <a:lnTo>
                  <a:pt x="3580" y="218"/>
                </a:lnTo>
                <a:lnTo>
                  <a:pt x="3587" y="235"/>
                </a:lnTo>
                <a:lnTo>
                  <a:pt x="3592" y="252"/>
                </a:lnTo>
                <a:lnTo>
                  <a:pt x="3598" y="269"/>
                </a:lnTo>
                <a:lnTo>
                  <a:pt x="3601" y="286"/>
                </a:lnTo>
                <a:lnTo>
                  <a:pt x="3605" y="304"/>
                </a:lnTo>
                <a:lnTo>
                  <a:pt x="3607" y="322"/>
                </a:lnTo>
                <a:lnTo>
                  <a:pt x="3608" y="340"/>
                </a:lnTo>
                <a:lnTo>
                  <a:pt x="3609" y="358"/>
                </a:lnTo>
                <a:lnTo>
                  <a:pt x="3609" y="376"/>
                </a:lnTo>
                <a:lnTo>
                  <a:pt x="3608" y="393"/>
                </a:lnTo>
                <a:lnTo>
                  <a:pt x="3606" y="408"/>
                </a:lnTo>
                <a:lnTo>
                  <a:pt x="3602" y="425"/>
                </a:lnTo>
                <a:lnTo>
                  <a:pt x="3599" y="440"/>
                </a:lnTo>
                <a:lnTo>
                  <a:pt x="3596" y="456"/>
                </a:lnTo>
                <a:lnTo>
                  <a:pt x="3591" y="471"/>
                </a:lnTo>
                <a:lnTo>
                  <a:pt x="3586" y="487"/>
                </a:lnTo>
                <a:lnTo>
                  <a:pt x="3579" y="501"/>
                </a:lnTo>
                <a:lnTo>
                  <a:pt x="3572" y="516"/>
                </a:lnTo>
                <a:lnTo>
                  <a:pt x="3566" y="530"/>
                </a:lnTo>
                <a:lnTo>
                  <a:pt x="3558" y="543"/>
                </a:lnTo>
                <a:lnTo>
                  <a:pt x="3549" y="557"/>
                </a:lnTo>
                <a:lnTo>
                  <a:pt x="3540" y="570"/>
                </a:lnTo>
                <a:lnTo>
                  <a:pt x="3531" y="583"/>
                </a:lnTo>
                <a:lnTo>
                  <a:pt x="3520" y="595"/>
                </a:lnTo>
                <a:lnTo>
                  <a:pt x="3474" y="548"/>
                </a:lnTo>
                <a:lnTo>
                  <a:pt x="3489" y="528"/>
                </a:lnTo>
                <a:lnTo>
                  <a:pt x="3502" y="506"/>
                </a:lnTo>
                <a:lnTo>
                  <a:pt x="3514" y="483"/>
                </a:lnTo>
                <a:lnTo>
                  <a:pt x="3524" y="459"/>
                </a:lnTo>
                <a:lnTo>
                  <a:pt x="3531" y="435"/>
                </a:lnTo>
                <a:lnTo>
                  <a:pt x="3537" y="410"/>
                </a:lnTo>
                <a:lnTo>
                  <a:pt x="3540" y="385"/>
                </a:lnTo>
                <a:lnTo>
                  <a:pt x="3541" y="358"/>
                </a:lnTo>
                <a:lnTo>
                  <a:pt x="3540" y="344"/>
                </a:lnTo>
                <a:lnTo>
                  <a:pt x="3539" y="328"/>
                </a:lnTo>
                <a:lnTo>
                  <a:pt x="3538" y="314"/>
                </a:lnTo>
                <a:lnTo>
                  <a:pt x="3535" y="299"/>
                </a:lnTo>
                <a:lnTo>
                  <a:pt x="3531" y="285"/>
                </a:lnTo>
                <a:lnTo>
                  <a:pt x="3528" y="271"/>
                </a:lnTo>
                <a:lnTo>
                  <a:pt x="3522" y="257"/>
                </a:lnTo>
                <a:lnTo>
                  <a:pt x="3518" y="244"/>
                </a:lnTo>
                <a:lnTo>
                  <a:pt x="3511" y="231"/>
                </a:lnTo>
                <a:lnTo>
                  <a:pt x="3505" y="217"/>
                </a:lnTo>
                <a:lnTo>
                  <a:pt x="3498" y="205"/>
                </a:lnTo>
                <a:lnTo>
                  <a:pt x="3490" y="193"/>
                </a:lnTo>
                <a:lnTo>
                  <a:pt x="3481" y="182"/>
                </a:lnTo>
                <a:lnTo>
                  <a:pt x="3473" y="170"/>
                </a:lnTo>
                <a:lnTo>
                  <a:pt x="3464" y="160"/>
                </a:lnTo>
                <a:lnTo>
                  <a:pt x="3454" y="149"/>
                </a:lnTo>
                <a:lnTo>
                  <a:pt x="3444" y="139"/>
                </a:lnTo>
                <a:lnTo>
                  <a:pt x="3433" y="130"/>
                </a:lnTo>
                <a:lnTo>
                  <a:pt x="3422" y="121"/>
                </a:lnTo>
                <a:lnTo>
                  <a:pt x="3410" y="112"/>
                </a:lnTo>
                <a:lnTo>
                  <a:pt x="3398" y="104"/>
                </a:lnTo>
                <a:lnTo>
                  <a:pt x="3386" y="98"/>
                </a:lnTo>
                <a:lnTo>
                  <a:pt x="3373" y="91"/>
                </a:lnTo>
                <a:lnTo>
                  <a:pt x="3359" y="84"/>
                </a:lnTo>
                <a:lnTo>
                  <a:pt x="3346" y="80"/>
                </a:lnTo>
                <a:lnTo>
                  <a:pt x="3333" y="74"/>
                </a:lnTo>
                <a:lnTo>
                  <a:pt x="3318" y="71"/>
                </a:lnTo>
                <a:lnTo>
                  <a:pt x="3304" y="68"/>
                </a:lnTo>
                <a:lnTo>
                  <a:pt x="3289" y="64"/>
                </a:lnTo>
                <a:lnTo>
                  <a:pt x="3275" y="63"/>
                </a:lnTo>
                <a:lnTo>
                  <a:pt x="3261" y="62"/>
                </a:lnTo>
                <a:lnTo>
                  <a:pt x="3245" y="61"/>
                </a:lnTo>
                <a:lnTo>
                  <a:pt x="3230" y="62"/>
                </a:lnTo>
                <a:lnTo>
                  <a:pt x="3215" y="63"/>
                </a:lnTo>
                <a:lnTo>
                  <a:pt x="3201" y="64"/>
                </a:lnTo>
                <a:lnTo>
                  <a:pt x="3185" y="68"/>
                </a:lnTo>
                <a:lnTo>
                  <a:pt x="3172" y="71"/>
                </a:lnTo>
                <a:lnTo>
                  <a:pt x="3157" y="74"/>
                </a:lnTo>
                <a:lnTo>
                  <a:pt x="3144" y="80"/>
                </a:lnTo>
                <a:lnTo>
                  <a:pt x="3130" y="84"/>
                </a:lnTo>
                <a:lnTo>
                  <a:pt x="3118" y="91"/>
                </a:lnTo>
                <a:lnTo>
                  <a:pt x="3104" y="98"/>
                </a:lnTo>
                <a:lnTo>
                  <a:pt x="3092" y="104"/>
                </a:lnTo>
                <a:lnTo>
                  <a:pt x="3080" y="112"/>
                </a:lnTo>
                <a:lnTo>
                  <a:pt x="3069" y="121"/>
                </a:lnTo>
                <a:lnTo>
                  <a:pt x="3058" y="130"/>
                </a:lnTo>
                <a:lnTo>
                  <a:pt x="3047" y="139"/>
                </a:lnTo>
                <a:lnTo>
                  <a:pt x="3037" y="149"/>
                </a:lnTo>
                <a:lnTo>
                  <a:pt x="3027" y="160"/>
                </a:lnTo>
                <a:lnTo>
                  <a:pt x="3017" y="170"/>
                </a:lnTo>
                <a:lnTo>
                  <a:pt x="3008" y="182"/>
                </a:lnTo>
                <a:lnTo>
                  <a:pt x="3000" y="193"/>
                </a:lnTo>
                <a:lnTo>
                  <a:pt x="2992" y="205"/>
                </a:lnTo>
                <a:lnTo>
                  <a:pt x="2985" y="217"/>
                </a:lnTo>
                <a:lnTo>
                  <a:pt x="2979" y="231"/>
                </a:lnTo>
                <a:lnTo>
                  <a:pt x="2972" y="244"/>
                </a:lnTo>
                <a:lnTo>
                  <a:pt x="2967" y="257"/>
                </a:lnTo>
                <a:lnTo>
                  <a:pt x="2962" y="271"/>
                </a:lnTo>
                <a:lnTo>
                  <a:pt x="2959" y="285"/>
                </a:lnTo>
                <a:lnTo>
                  <a:pt x="2956" y="299"/>
                </a:lnTo>
                <a:lnTo>
                  <a:pt x="2952" y="314"/>
                </a:lnTo>
                <a:lnTo>
                  <a:pt x="2951" y="328"/>
                </a:lnTo>
                <a:lnTo>
                  <a:pt x="2949" y="344"/>
                </a:lnTo>
                <a:lnTo>
                  <a:pt x="2949" y="358"/>
                </a:lnTo>
                <a:lnTo>
                  <a:pt x="2950" y="385"/>
                </a:lnTo>
                <a:lnTo>
                  <a:pt x="2953" y="410"/>
                </a:lnTo>
                <a:lnTo>
                  <a:pt x="2959" y="435"/>
                </a:lnTo>
                <a:lnTo>
                  <a:pt x="2967" y="459"/>
                </a:lnTo>
                <a:lnTo>
                  <a:pt x="2976" y="483"/>
                </a:lnTo>
                <a:lnTo>
                  <a:pt x="2988" y="506"/>
                </a:lnTo>
                <a:lnTo>
                  <a:pt x="3001" y="528"/>
                </a:lnTo>
                <a:lnTo>
                  <a:pt x="3017" y="548"/>
                </a:lnTo>
                <a:lnTo>
                  <a:pt x="2969" y="595"/>
                </a:lnTo>
                <a:lnTo>
                  <a:pt x="2959" y="583"/>
                </a:lnTo>
                <a:lnTo>
                  <a:pt x="2950" y="570"/>
                </a:lnTo>
                <a:lnTo>
                  <a:pt x="2941" y="557"/>
                </a:lnTo>
                <a:lnTo>
                  <a:pt x="2932" y="543"/>
                </a:lnTo>
                <a:lnTo>
                  <a:pt x="2924" y="530"/>
                </a:lnTo>
                <a:lnTo>
                  <a:pt x="2917" y="516"/>
                </a:lnTo>
                <a:lnTo>
                  <a:pt x="2910" y="501"/>
                </a:lnTo>
                <a:lnTo>
                  <a:pt x="2905" y="487"/>
                </a:lnTo>
                <a:lnTo>
                  <a:pt x="2899" y="471"/>
                </a:lnTo>
                <a:lnTo>
                  <a:pt x="2895" y="456"/>
                </a:lnTo>
                <a:lnTo>
                  <a:pt x="2890" y="440"/>
                </a:lnTo>
                <a:lnTo>
                  <a:pt x="2887" y="425"/>
                </a:lnTo>
                <a:lnTo>
                  <a:pt x="2885" y="408"/>
                </a:lnTo>
                <a:lnTo>
                  <a:pt x="2882" y="393"/>
                </a:lnTo>
                <a:lnTo>
                  <a:pt x="2881" y="376"/>
                </a:lnTo>
                <a:lnTo>
                  <a:pt x="2881" y="358"/>
                </a:lnTo>
                <a:close/>
                <a:moveTo>
                  <a:pt x="2569" y="472"/>
                </a:moveTo>
                <a:lnTo>
                  <a:pt x="2569" y="248"/>
                </a:lnTo>
                <a:lnTo>
                  <a:pt x="2630" y="248"/>
                </a:lnTo>
                <a:lnTo>
                  <a:pt x="2630" y="421"/>
                </a:lnTo>
                <a:lnTo>
                  <a:pt x="2733" y="421"/>
                </a:lnTo>
                <a:lnTo>
                  <a:pt x="2733" y="472"/>
                </a:lnTo>
                <a:lnTo>
                  <a:pt x="2569" y="472"/>
                </a:lnTo>
                <a:close/>
                <a:moveTo>
                  <a:pt x="2359" y="472"/>
                </a:moveTo>
                <a:lnTo>
                  <a:pt x="2525" y="472"/>
                </a:lnTo>
                <a:lnTo>
                  <a:pt x="2525" y="421"/>
                </a:lnTo>
                <a:lnTo>
                  <a:pt x="2415" y="421"/>
                </a:lnTo>
                <a:lnTo>
                  <a:pt x="2415" y="383"/>
                </a:lnTo>
                <a:lnTo>
                  <a:pt x="2506" y="383"/>
                </a:lnTo>
                <a:lnTo>
                  <a:pt x="2506" y="336"/>
                </a:lnTo>
                <a:lnTo>
                  <a:pt x="2415" y="336"/>
                </a:lnTo>
                <a:lnTo>
                  <a:pt x="2415" y="297"/>
                </a:lnTo>
                <a:lnTo>
                  <a:pt x="2520" y="297"/>
                </a:lnTo>
                <a:lnTo>
                  <a:pt x="2520" y="248"/>
                </a:lnTo>
                <a:lnTo>
                  <a:pt x="2359" y="248"/>
                </a:lnTo>
                <a:lnTo>
                  <a:pt x="2359" y="472"/>
                </a:lnTo>
                <a:close/>
                <a:moveTo>
                  <a:pt x="2102" y="360"/>
                </a:moveTo>
                <a:lnTo>
                  <a:pt x="2102" y="360"/>
                </a:lnTo>
                <a:lnTo>
                  <a:pt x="2102" y="347"/>
                </a:lnTo>
                <a:lnTo>
                  <a:pt x="2105" y="335"/>
                </a:lnTo>
                <a:lnTo>
                  <a:pt x="2107" y="324"/>
                </a:lnTo>
                <a:lnTo>
                  <a:pt x="2110" y="313"/>
                </a:lnTo>
                <a:lnTo>
                  <a:pt x="2115" y="302"/>
                </a:lnTo>
                <a:lnTo>
                  <a:pt x="2119" y="292"/>
                </a:lnTo>
                <a:lnTo>
                  <a:pt x="2125" y="283"/>
                </a:lnTo>
                <a:lnTo>
                  <a:pt x="2132" y="275"/>
                </a:lnTo>
                <a:lnTo>
                  <a:pt x="2139" y="267"/>
                </a:lnTo>
                <a:lnTo>
                  <a:pt x="2148" y="261"/>
                </a:lnTo>
                <a:lnTo>
                  <a:pt x="2157" y="255"/>
                </a:lnTo>
                <a:lnTo>
                  <a:pt x="2167" y="251"/>
                </a:lnTo>
                <a:lnTo>
                  <a:pt x="2177" y="246"/>
                </a:lnTo>
                <a:lnTo>
                  <a:pt x="2188" y="244"/>
                </a:lnTo>
                <a:lnTo>
                  <a:pt x="2200" y="242"/>
                </a:lnTo>
                <a:lnTo>
                  <a:pt x="2212" y="242"/>
                </a:lnTo>
                <a:lnTo>
                  <a:pt x="2231" y="243"/>
                </a:lnTo>
                <a:lnTo>
                  <a:pt x="2239" y="244"/>
                </a:lnTo>
                <a:lnTo>
                  <a:pt x="2248" y="246"/>
                </a:lnTo>
                <a:lnTo>
                  <a:pt x="2255" y="250"/>
                </a:lnTo>
                <a:lnTo>
                  <a:pt x="2263" y="253"/>
                </a:lnTo>
                <a:lnTo>
                  <a:pt x="2271" y="256"/>
                </a:lnTo>
                <a:lnTo>
                  <a:pt x="2278" y="261"/>
                </a:lnTo>
                <a:lnTo>
                  <a:pt x="2283" y="266"/>
                </a:lnTo>
                <a:lnTo>
                  <a:pt x="2289" y="272"/>
                </a:lnTo>
                <a:lnTo>
                  <a:pt x="2294" y="278"/>
                </a:lnTo>
                <a:lnTo>
                  <a:pt x="2299" y="285"/>
                </a:lnTo>
                <a:lnTo>
                  <a:pt x="2303" y="293"/>
                </a:lnTo>
                <a:lnTo>
                  <a:pt x="2307" y="301"/>
                </a:lnTo>
                <a:lnTo>
                  <a:pt x="2309" y="309"/>
                </a:lnTo>
                <a:lnTo>
                  <a:pt x="2311" y="318"/>
                </a:lnTo>
                <a:lnTo>
                  <a:pt x="2251" y="318"/>
                </a:lnTo>
                <a:lnTo>
                  <a:pt x="2249" y="310"/>
                </a:lnTo>
                <a:lnTo>
                  <a:pt x="2246" y="305"/>
                </a:lnTo>
                <a:lnTo>
                  <a:pt x="2241" y="301"/>
                </a:lnTo>
                <a:lnTo>
                  <a:pt x="2237" y="296"/>
                </a:lnTo>
                <a:lnTo>
                  <a:pt x="2231" y="294"/>
                </a:lnTo>
                <a:lnTo>
                  <a:pt x="2226" y="292"/>
                </a:lnTo>
                <a:lnTo>
                  <a:pt x="2220" y="292"/>
                </a:lnTo>
                <a:lnTo>
                  <a:pt x="2213" y="291"/>
                </a:lnTo>
                <a:lnTo>
                  <a:pt x="2207" y="292"/>
                </a:lnTo>
                <a:lnTo>
                  <a:pt x="2201" y="293"/>
                </a:lnTo>
                <a:lnTo>
                  <a:pt x="2196" y="294"/>
                </a:lnTo>
                <a:lnTo>
                  <a:pt x="2191" y="296"/>
                </a:lnTo>
                <a:lnTo>
                  <a:pt x="2187" y="299"/>
                </a:lnTo>
                <a:lnTo>
                  <a:pt x="2182" y="303"/>
                </a:lnTo>
                <a:lnTo>
                  <a:pt x="2174" y="312"/>
                </a:lnTo>
                <a:lnTo>
                  <a:pt x="2169" y="322"/>
                </a:lnTo>
                <a:lnTo>
                  <a:pt x="2166" y="333"/>
                </a:lnTo>
                <a:lnTo>
                  <a:pt x="2163" y="346"/>
                </a:lnTo>
                <a:lnTo>
                  <a:pt x="2162" y="360"/>
                </a:lnTo>
                <a:lnTo>
                  <a:pt x="2163" y="375"/>
                </a:lnTo>
                <a:lnTo>
                  <a:pt x="2166" y="388"/>
                </a:lnTo>
                <a:lnTo>
                  <a:pt x="2170" y="400"/>
                </a:lnTo>
                <a:lnTo>
                  <a:pt x="2176" y="410"/>
                </a:lnTo>
                <a:lnTo>
                  <a:pt x="2183" y="419"/>
                </a:lnTo>
                <a:lnTo>
                  <a:pt x="2188" y="422"/>
                </a:lnTo>
                <a:lnTo>
                  <a:pt x="2192" y="426"/>
                </a:lnTo>
                <a:lnTo>
                  <a:pt x="2198" y="428"/>
                </a:lnTo>
                <a:lnTo>
                  <a:pt x="2203" y="430"/>
                </a:lnTo>
                <a:lnTo>
                  <a:pt x="2210" y="430"/>
                </a:lnTo>
                <a:lnTo>
                  <a:pt x="2217" y="431"/>
                </a:lnTo>
                <a:lnTo>
                  <a:pt x="2228" y="430"/>
                </a:lnTo>
                <a:lnTo>
                  <a:pt x="2238" y="428"/>
                </a:lnTo>
                <a:lnTo>
                  <a:pt x="2247" y="425"/>
                </a:lnTo>
                <a:lnTo>
                  <a:pt x="2254" y="420"/>
                </a:lnTo>
                <a:lnTo>
                  <a:pt x="2254" y="391"/>
                </a:lnTo>
                <a:lnTo>
                  <a:pt x="2214" y="391"/>
                </a:lnTo>
                <a:lnTo>
                  <a:pt x="2214" y="347"/>
                </a:lnTo>
                <a:lnTo>
                  <a:pt x="2311" y="347"/>
                </a:lnTo>
                <a:lnTo>
                  <a:pt x="2311" y="448"/>
                </a:lnTo>
                <a:lnTo>
                  <a:pt x="2300" y="456"/>
                </a:lnTo>
                <a:lnTo>
                  <a:pt x="2289" y="462"/>
                </a:lnTo>
                <a:lnTo>
                  <a:pt x="2277" y="468"/>
                </a:lnTo>
                <a:lnTo>
                  <a:pt x="2264" y="472"/>
                </a:lnTo>
                <a:lnTo>
                  <a:pt x="2253" y="476"/>
                </a:lnTo>
                <a:lnTo>
                  <a:pt x="2241" y="479"/>
                </a:lnTo>
                <a:lnTo>
                  <a:pt x="2230" y="480"/>
                </a:lnTo>
                <a:lnTo>
                  <a:pt x="2220" y="480"/>
                </a:lnTo>
                <a:lnTo>
                  <a:pt x="2207" y="480"/>
                </a:lnTo>
                <a:lnTo>
                  <a:pt x="2193" y="478"/>
                </a:lnTo>
                <a:lnTo>
                  <a:pt x="2181" y="476"/>
                </a:lnTo>
                <a:lnTo>
                  <a:pt x="2170" y="472"/>
                </a:lnTo>
                <a:lnTo>
                  <a:pt x="2159" y="468"/>
                </a:lnTo>
                <a:lnTo>
                  <a:pt x="2150" y="462"/>
                </a:lnTo>
                <a:lnTo>
                  <a:pt x="2141" y="456"/>
                </a:lnTo>
                <a:lnTo>
                  <a:pt x="2132" y="449"/>
                </a:lnTo>
                <a:lnTo>
                  <a:pt x="2126" y="440"/>
                </a:lnTo>
                <a:lnTo>
                  <a:pt x="2119" y="431"/>
                </a:lnTo>
                <a:lnTo>
                  <a:pt x="2115" y="421"/>
                </a:lnTo>
                <a:lnTo>
                  <a:pt x="2110" y="411"/>
                </a:lnTo>
                <a:lnTo>
                  <a:pt x="2107" y="399"/>
                </a:lnTo>
                <a:lnTo>
                  <a:pt x="2105" y="387"/>
                </a:lnTo>
                <a:lnTo>
                  <a:pt x="2102" y="374"/>
                </a:lnTo>
                <a:lnTo>
                  <a:pt x="2102" y="360"/>
                </a:lnTo>
                <a:close/>
                <a:moveTo>
                  <a:pt x="1945" y="393"/>
                </a:moveTo>
                <a:lnTo>
                  <a:pt x="1974" y="307"/>
                </a:lnTo>
                <a:lnTo>
                  <a:pt x="2004" y="393"/>
                </a:lnTo>
                <a:lnTo>
                  <a:pt x="1945" y="393"/>
                </a:lnTo>
                <a:close/>
                <a:moveTo>
                  <a:pt x="1857" y="472"/>
                </a:moveTo>
                <a:lnTo>
                  <a:pt x="1918" y="472"/>
                </a:lnTo>
                <a:lnTo>
                  <a:pt x="1929" y="439"/>
                </a:lnTo>
                <a:lnTo>
                  <a:pt x="2019" y="439"/>
                </a:lnTo>
                <a:lnTo>
                  <a:pt x="2030" y="472"/>
                </a:lnTo>
                <a:lnTo>
                  <a:pt x="2091" y="472"/>
                </a:lnTo>
                <a:lnTo>
                  <a:pt x="2006" y="248"/>
                </a:lnTo>
                <a:lnTo>
                  <a:pt x="1942" y="248"/>
                </a:lnTo>
                <a:lnTo>
                  <a:pt x="1857" y="472"/>
                </a:lnTo>
                <a:close/>
                <a:moveTo>
                  <a:pt x="1632" y="472"/>
                </a:moveTo>
                <a:lnTo>
                  <a:pt x="1687" y="472"/>
                </a:lnTo>
                <a:lnTo>
                  <a:pt x="1687" y="338"/>
                </a:lnTo>
                <a:lnTo>
                  <a:pt x="1766" y="472"/>
                </a:lnTo>
                <a:lnTo>
                  <a:pt x="1828" y="472"/>
                </a:lnTo>
                <a:lnTo>
                  <a:pt x="1828" y="248"/>
                </a:lnTo>
                <a:lnTo>
                  <a:pt x="1773" y="248"/>
                </a:lnTo>
                <a:lnTo>
                  <a:pt x="1773" y="380"/>
                </a:lnTo>
                <a:lnTo>
                  <a:pt x="1692" y="248"/>
                </a:lnTo>
                <a:lnTo>
                  <a:pt x="1632" y="248"/>
                </a:lnTo>
                <a:lnTo>
                  <a:pt x="1632" y="472"/>
                </a:lnTo>
                <a:close/>
                <a:moveTo>
                  <a:pt x="1378" y="383"/>
                </a:moveTo>
                <a:lnTo>
                  <a:pt x="1378" y="354"/>
                </a:lnTo>
                <a:lnTo>
                  <a:pt x="1468" y="354"/>
                </a:lnTo>
                <a:lnTo>
                  <a:pt x="1468" y="263"/>
                </a:lnTo>
                <a:lnTo>
                  <a:pt x="1501" y="263"/>
                </a:lnTo>
                <a:lnTo>
                  <a:pt x="1501" y="354"/>
                </a:lnTo>
                <a:lnTo>
                  <a:pt x="1592" y="354"/>
                </a:lnTo>
                <a:lnTo>
                  <a:pt x="1592" y="383"/>
                </a:lnTo>
                <a:lnTo>
                  <a:pt x="1501" y="383"/>
                </a:lnTo>
                <a:lnTo>
                  <a:pt x="1501" y="472"/>
                </a:lnTo>
                <a:lnTo>
                  <a:pt x="1468" y="472"/>
                </a:lnTo>
                <a:lnTo>
                  <a:pt x="1468" y="383"/>
                </a:lnTo>
                <a:lnTo>
                  <a:pt x="1378" y="383"/>
                </a:lnTo>
                <a:close/>
                <a:moveTo>
                  <a:pt x="1185" y="472"/>
                </a:moveTo>
                <a:lnTo>
                  <a:pt x="1351" y="472"/>
                </a:lnTo>
                <a:lnTo>
                  <a:pt x="1351" y="421"/>
                </a:lnTo>
                <a:lnTo>
                  <a:pt x="1241" y="421"/>
                </a:lnTo>
                <a:lnTo>
                  <a:pt x="1241" y="383"/>
                </a:lnTo>
                <a:lnTo>
                  <a:pt x="1332" y="383"/>
                </a:lnTo>
                <a:lnTo>
                  <a:pt x="1332" y="336"/>
                </a:lnTo>
                <a:lnTo>
                  <a:pt x="1241" y="336"/>
                </a:lnTo>
                <a:lnTo>
                  <a:pt x="1241" y="297"/>
                </a:lnTo>
                <a:lnTo>
                  <a:pt x="1346" y="297"/>
                </a:lnTo>
                <a:lnTo>
                  <a:pt x="1346" y="248"/>
                </a:lnTo>
                <a:lnTo>
                  <a:pt x="1185" y="248"/>
                </a:lnTo>
                <a:lnTo>
                  <a:pt x="1185" y="472"/>
                </a:lnTo>
                <a:close/>
                <a:moveTo>
                  <a:pt x="934" y="472"/>
                </a:moveTo>
                <a:lnTo>
                  <a:pt x="990" y="472"/>
                </a:lnTo>
                <a:lnTo>
                  <a:pt x="990" y="338"/>
                </a:lnTo>
                <a:lnTo>
                  <a:pt x="1068" y="472"/>
                </a:lnTo>
                <a:lnTo>
                  <a:pt x="1132" y="472"/>
                </a:lnTo>
                <a:lnTo>
                  <a:pt x="1132" y="248"/>
                </a:lnTo>
                <a:lnTo>
                  <a:pt x="1075" y="248"/>
                </a:lnTo>
                <a:lnTo>
                  <a:pt x="1075" y="380"/>
                </a:lnTo>
                <a:lnTo>
                  <a:pt x="995" y="248"/>
                </a:lnTo>
                <a:lnTo>
                  <a:pt x="934" y="248"/>
                </a:lnTo>
                <a:lnTo>
                  <a:pt x="934" y="472"/>
                </a:lnTo>
                <a:close/>
                <a:moveTo>
                  <a:pt x="681" y="472"/>
                </a:moveTo>
                <a:lnTo>
                  <a:pt x="740" y="472"/>
                </a:lnTo>
                <a:lnTo>
                  <a:pt x="740" y="386"/>
                </a:lnTo>
                <a:lnTo>
                  <a:pt x="821" y="386"/>
                </a:lnTo>
                <a:lnTo>
                  <a:pt x="821" y="472"/>
                </a:lnTo>
                <a:lnTo>
                  <a:pt x="881" y="472"/>
                </a:lnTo>
                <a:lnTo>
                  <a:pt x="881" y="248"/>
                </a:lnTo>
                <a:lnTo>
                  <a:pt x="821" y="248"/>
                </a:lnTo>
                <a:lnTo>
                  <a:pt x="821" y="333"/>
                </a:lnTo>
                <a:lnTo>
                  <a:pt x="740" y="333"/>
                </a:lnTo>
                <a:lnTo>
                  <a:pt x="740" y="248"/>
                </a:lnTo>
                <a:lnTo>
                  <a:pt x="681" y="248"/>
                </a:lnTo>
                <a:lnTo>
                  <a:pt x="681" y="472"/>
                </a:lnTo>
                <a:close/>
                <a:moveTo>
                  <a:pt x="469" y="472"/>
                </a:moveTo>
                <a:lnTo>
                  <a:pt x="636" y="472"/>
                </a:lnTo>
                <a:lnTo>
                  <a:pt x="636" y="421"/>
                </a:lnTo>
                <a:lnTo>
                  <a:pt x="526" y="421"/>
                </a:lnTo>
                <a:lnTo>
                  <a:pt x="526" y="383"/>
                </a:lnTo>
                <a:lnTo>
                  <a:pt x="617" y="383"/>
                </a:lnTo>
                <a:lnTo>
                  <a:pt x="617" y="336"/>
                </a:lnTo>
                <a:lnTo>
                  <a:pt x="526" y="336"/>
                </a:lnTo>
                <a:lnTo>
                  <a:pt x="526" y="297"/>
                </a:lnTo>
                <a:lnTo>
                  <a:pt x="630" y="297"/>
                </a:lnTo>
                <a:lnTo>
                  <a:pt x="630" y="248"/>
                </a:lnTo>
                <a:lnTo>
                  <a:pt x="469" y="248"/>
                </a:lnTo>
                <a:lnTo>
                  <a:pt x="469" y="472"/>
                </a:lnTo>
                <a:close/>
                <a:moveTo>
                  <a:pt x="222" y="380"/>
                </a:moveTo>
                <a:lnTo>
                  <a:pt x="222" y="380"/>
                </a:lnTo>
                <a:lnTo>
                  <a:pt x="222" y="394"/>
                </a:lnTo>
                <a:lnTo>
                  <a:pt x="224" y="406"/>
                </a:lnTo>
                <a:lnTo>
                  <a:pt x="226" y="417"/>
                </a:lnTo>
                <a:lnTo>
                  <a:pt x="230" y="427"/>
                </a:lnTo>
                <a:lnTo>
                  <a:pt x="234" y="436"/>
                </a:lnTo>
                <a:lnTo>
                  <a:pt x="239" y="444"/>
                </a:lnTo>
                <a:lnTo>
                  <a:pt x="245" y="451"/>
                </a:lnTo>
                <a:lnTo>
                  <a:pt x="251" y="458"/>
                </a:lnTo>
                <a:lnTo>
                  <a:pt x="258" y="464"/>
                </a:lnTo>
                <a:lnTo>
                  <a:pt x="266" y="468"/>
                </a:lnTo>
                <a:lnTo>
                  <a:pt x="274" y="471"/>
                </a:lnTo>
                <a:lnTo>
                  <a:pt x="283" y="475"/>
                </a:lnTo>
                <a:lnTo>
                  <a:pt x="292" y="478"/>
                </a:lnTo>
                <a:lnTo>
                  <a:pt x="301" y="479"/>
                </a:lnTo>
                <a:lnTo>
                  <a:pt x="311" y="480"/>
                </a:lnTo>
                <a:lnTo>
                  <a:pt x="321" y="480"/>
                </a:lnTo>
                <a:lnTo>
                  <a:pt x="330" y="480"/>
                </a:lnTo>
                <a:lnTo>
                  <a:pt x="339" y="479"/>
                </a:lnTo>
                <a:lnTo>
                  <a:pt x="348" y="478"/>
                </a:lnTo>
                <a:lnTo>
                  <a:pt x="357" y="475"/>
                </a:lnTo>
                <a:lnTo>
                  <a:pt x="366" y="471"/>
                </a:lnTo>
                <a:lnTo>
                  <a:pt x="374" y="468"/>
                </a:lnTo>
                <a:lnTo>
                  <a:pt x="382" y="464"/>
                </a:lnTo>
                <a:lnTo>
                  <a:pt x="388" y="458"/>
                </a:lnTo>
                <a:lnTo>
                  <a:pt x="395" y="451"/>
                </a:lnTo>
                <a:lnTo>
                  <a:pt x="401" y="444"/>
                </a:lnTo>
                <a:lnTo>
                  <a:pt x="406" y="436"/>
                </a:lnTo>
                <a:lnTo>
                  <a:pt x="409" y="427"/>
                </a:lnTo>
                <a:lnTo>
                  <a:pt x="414" y="417"/>
                </a:lnTo>
                <a:lnTo>
                  <a:pt x="416" y="406"/>
                </a:lnTo>
                <a:lnTo>
                  <a:pt x="417" y="394"/>
                </a:lnTo>
                <a:lnTo>
                  <a:pt x="418" y="380"/>
                </a:lnTo>
                <a:lnTo>
                  <a:pt x="418" y="248"/>
                </a:lnTo>
                <a:lnTo>
                  <a:pt x="357" y="248"/>
                </a:lnTo>
                <a:lnTo>
                  <a:pt x="357" y="389"/>
                </a:lnTo>
                <a:lnTo>
                  <a:pt x="356" y="398"/>
                </a:lnTo>
                <a:lnTo>
                  <a:pt x="355" y="407"/>
                </a:lnTo>
                <a:lnTo>
                  <a:pt x="352" y="414"/>
                </a:lnTo>
                <a:lnTo>
                  <a:pt x="348" y="419"/>
                </a:lnTo>
                <a:lnTo>
                  <a:pt x="343" y="424"/>
                </a:lnTo>
                <a:lnTo>
                  <a:pt x="336" y="427"/>
                </a:lnTo>
                <a:lnTo>
                  <a:pt x="328" y="429"/>
                </a:lnTo>
                <a:lnTo>
                  <a:pt x="321" y="429"/>
                </a:lnTo>
                <a:lnTo>
                  <a:pt x="312" y="429"/>
                </a:lnTo>
                <a:lnTo>
                  <a:pt x="304" y="427"/>
                </a:lnTo>
                <a:lnTo>
                  <a:pt x="297" y="424"/>
                </a:lnTo>
                <a:lnTo>
                  <a:pt x="292" y="419"/>
                </a:lnTo>
                <a:lnTo>
                  <a:pt x="287" y="414"/>
                </a:lnTo>
                <a:lnTo>
                  <a:pt x="285" y="407"/>
                </a:lnTo>
                <a:lnTo>
                  <a:pt x="283" y="398"/>
                </a:lnTo>
                <a:lnTo>
                  <a:pt x="283" y="389"/>
                </a:lnTo>
                <a:lnTo>
                  <a:pt x="283" y="248"/>
                </a:lnTo>
                <a:lnTo>
                  <a:pt x="222" y="248"/>
                </a:lnTo>
                <a:lnTo>
                  <a:pt x="222" y="380"/>
                </a:lnTo>
                <a:close/>
                <a:moveTo>
                  <a:pt x="0" y="472"/>
                </a:moveTo>
                <a:lnTo>
                  <a:pt x="60" y="472"/>
                </a:lnTo>
                <a:lnTo>
                  <a:pt x="60" y="409"/>
                </a:lnTo>
                <a:lnTo>
                  <a:pt x="80" y="384"/>
                </a:lnTo>
                <a:lnTo>
                  <a:pt x="131" y="472"/>
                </a:lnTo>
                <a:lnTo>
                  <a:pt x="201" y="472"/>
                </a:lnTo>
                <a:lnTo>
                  <a:pt x="120" y="340"/>
                </a:lnTo>
                <a:lnTo>
                  <a:pt x="192" y="248"/>
                </a:lnTo>
                <a:lnTo>
                  <a:pt x="122" y="248"/>
                </a:lnTo>
                <a:lnTo>
                  <a:pt x="60" y="328"/>
                </a:lnTo>
                <a:lnTo>
                  <a:pt x="60" y="248"/>
                </a:lnTo>
                <a:lnTo>
                  <a:pt x="0" y="248"/>
                </a:lnTo>
                <a:lnTo>
                  <a:pt x="0" y="472"/>
                </a:lnTo>
                <a:close/>
              </a:path>
            </a:pathLst>
          </a:custGeom>
          <a:solidFill>
            <a:srgbClr val="1D3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Text Placeholder 2"/>
          <p:cNvSpPr>
            <a:spLocks noGrp="1"/>
          </p:cNvSpPr>
          <p:nvPr>
            <p:ph type="body" sz="quarter" idx="14"/>
          </p:nvPr>
        </p:nvSpPr>
        <p:spPr>
          <a:xfrm>
            <a:off x="550864" y="1989139"/>
            <a:ext cx="2773362" cy="4321174"/>
          </a:xfrm>
          <a:prstGeom prst="rect">
            <a:avLst/>
          </a:prstGeom>
        </p:spPr>
        <p:txBody>
          <a:bodyPr>
            <a:noAutofit/>
          </a:bodyPr>
          <a:lstStyle>
            <a:lvl1pPr marL="0" indent="0">
              <a:lnSpc>
                <a:spcPct val="100000"/>
              </a:lnSpc>
              <a:spcBef>
                <a:spcPts val="0"/>
              </a:spcBef>
              <a:spcAft>
                <a:spcPts val="1200"/>
              </a:spcAft>
              <a:buNone/>
              <a:defRPr sz="1800" b="0" baseline="0">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0" name="Titel 4"/>
          <p:cNvSpPr>
            <a:spLocks noGrp="1"/>
          </p:cNvSpPr>
          <p:nvPr>
            <p:ph type="title"/>
          </p:nvPr>
        </p:nvSpPr>
        <p:spPr>
          <a:xfrm>
            <a:off x="553321" y="550779"/>
            <a:ext cx="2770905" cy="1438360"/>
          </a:xfrm>
        </p:spPr>
        <p:txBody>
          <a:bodyPr/>
          <a:lstStyle/>
          <a:p>
            <a:pPr lvl="0"/>
            <a:r>
              <a:rPr lang="en-US" noProof="0"/>
              <a:t>Click to edit Master title style</a:t>
            </a:r>
            <a:endParaRPr lang="de-DE" dirty="0"/>
          </a:p>
        </p:txBody>
      </p:sp>
      <p:sp>
        <p:nvSpPr>
          <p:cNvPr id="4" name="Slide Number Placeholder 3">
            <a:extLst>
              <a:ext uri="{FF2B5EF4-FFF2-40B4-BE49-F238E27FC236}">
                <a16:creationId xmlns:a16="http://schemas.microsoft.com/office/drawing/2014/main" id="{40D67C02-7CD8-3722-A840-22158F9D77F4}"/>
              </a:ext>
            </a:extLst>
          </p:cNvPr>
          <p:cNvSpPr>
            <a:spLocks noGrp="1"/>
          </p:cNvSpPr>
          <p:nvPr>
            <p:ph type="sldNum" sz="quarter" idx="15"/>
          </p:nvPr>
        </p:nvSpPr>
        <p:spPr/>
        <p:txBody>
          <a:bodyPr/>
          <a:lstStyle>
            <a:lvl1pPr algn="r">
              <a:defRPr sz="1000">
                <a:solidFill>
                  <a:srgbClr val="000000"/>
                </a:solidFill>
              </a:defRPr>
            </a:lvl1pPr>
          </a:lstStyle>
          <a:p>
            <a:pPr>
              <a:defRPr/>
            </a:pPr>
            <a:fld id="{B2644627-9A25-4F16-868F-29311B862AEA}" type="slidenum">
              <a:rPr lang="en-GB"/>
              <a:pPr>
                <a:defRPr/>
              </a:pPr>
              <a:t>‹#›</a:t>
            </a:fld>
            <a:endParaRPr lang="en-GB" dirty="0"/>
          </a:p>
        </p:txBody>
      </p:sp>
    </p:spTree>
    <p:extLst>
      <p:ext uri="{BB962C8B-B14F-4D97-AF65-F5344CB8AC3E}">
        <p14:creationId xmlns:p14="http://schemas.microsoft.com/office/powerpoint/2010/main" val="1166848768"/>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mage_lower+text_msg_light">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1606860"/>
            <a:ext cx="12192000" cy="5248800"/>
          </a:xfrm>
          <a:solidFill>
            <a:schemeClr val="bg2"/>
          </a:solidFill>
        </p:spPr>
        <p:txBody>
          <a:bodyPr rIns="3240000" rtlCol="0" anchor="ctr">
            <a:normAutofit/>
          </a:bodyPr>
          <a:lstStyle>
            <a:lvl1pPr algn="r">
              <a:defRPr/>
            </a:lvl1pPr>
          </a:lstStyle>
          <a:p>
            <a:pPr lvl="0"/>
            <a:r>
              <a:rPr lang="en-US" noProof="0"/>
              <a:t>Click icon to add picture</a:t>
            </a:r>
            <a:endParaRPr lang="en-US" noProof="0" dirty="0"/>
          </a:p>
        </p:txBody>
      </p:sp>
      <p:sp>
        <p:nvSpPr>
          <p:cNvPr id="7" name="Text Placeholder 6"/>
          <p:cNvSpPr>
            <a:spLocks noGrp="1"/>
          </p:cNvSpPr>
          <p:nvPr>
            <p:ph type="body" sz="quarter" idx="12"/>
          </p:nvPr>
        </p:nvSpPr>
        <p:spPr>
          <a:xfrm>
            <a:off x="554400" y="2348637"/>
            <a:ext cx="4984854" cy="3960000"/>
          </a:xfrm>
        </p:spPr>
        <p:txBody>
          <a:bodyPr>
            <a:noAutofit/>
          </a:bodyPr>
          <a:lstStyle>
            <a:lvl1pPr>
              <a:spcAft>
                <a:spcPts val="1200"/>
              </a:spcAft>
              <a:defRPr sz="3600" b="1"/>
            </a:lvl1pPr>
            <a:lvl2pPr>
              <a:defRPr sz="3600"/>
            </a:lvl2pPr>
            <a:lvl3pPr>
              <a:defRPr sz="3600"/>
            </a:lvl3pPr>
            <a:lvl4pPr>
              <a:defRPr sz="3600"/>
            </a:lvl4pPr>
            <a:lvl5pPr>
              <a:defRPr sz="3600"/>
            </a:lvl5pPr>
          </a:lstStyle>
          <a:p>
            <a:pPr lvl="0"/>
            <a:r>
              <a:rPr lang="en-US" noProof="0"/>
              <a:t>Click to edit Master text styles</a:t>
            </a:r>
          </a:p>
        </p:txBody>
      </p:sp>
      <p:sp>
        <p:nvSpPr>
          <p:cNvPr id="2" name="Foliennummernplatzhalter 5">
            <a:extLst>
              <a:ext uri="{FF2B5EF4-FFF2-40B4-BE49-F238E27FC236}">
                <a16:creationId xmlns:a16="http://schemas.microsoft.com/office/drawing/2014/main" id="{4C9D4F60-A79D-534C-6630-E08C0DC42F6D}"/>
              </a:ext>
            </a:extLst>
          </p:cNvPr>
          <p:cNvSpPr>
            <a:spLocks noGrp="1"/>
          </p:cNvSpPr>
          <p:nvPr>
            <p:ph type="sldNum" sz="quarter" idx="13"/>
          </p:nvPr>
        </p:nvSpPr>
        <p:spPr/>
        <p:txBody>
          <a:bodyPr/>
          <a:lstStyle>
            <a:lvl1pPr>
              <a:defRPr/>
            </a:lvl1pPr>
          </a:lstStyle>
          <a:p>
            <a:pPr>
              <a:defRPr/>
            </a:pPr>
            <a:fld id="{CDC22F7F-3BF4-459A-8AC1-766273AE6640}" type="slidenum">
              <a:rPr lang="de-DE"/>
              <a:pPr>
                <a:defRPr/>
              </a:pPr>
              <a:t>‹#›</a:t>
            </a:fld>
            <a:endParaRPr lang="de-DE" dirty="0"/>
          </a:p>
        </p:txBody>
      </p:sp>
    </p:spTree>
    <p:extLst>
      <p:ext uri="{BB962C8B-B14F-4D97-AF65-F5344CB8AC3E}">
        <p14:creationId xmlns:p14="http://schemas.microsoft.com/office/powerpoint/2010/main" val="3032203873"/>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mage_lower+text_msg_dark">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1606860"/>
            <a:ext cx="12192000" cy="5248800"/>
          </a:xfrm>
          <a:solidFill>
            <a:schemeClr val="accent6"/>
          </a:solidFill>
        </p:spPr>
        <p:txBody>
          <a:bodyPr rIns="3240000" rtlCol="0" anchor="ctr">
            <a:normAutofit/>
          </a:bodyPr>
          <a:lstStyle>
            <a:lvl1pPr algn="r">
              <a:defRPr>
                <a:solidFill>
                  <a:schemeClr val="bg1"/>
                </a:solidFill>
              </a:defRPr>
            </a:lvl1pPr>
          </a:lstStyle>
          <a:p>
            <a:pPr lvl="0"/>
            <a:r>
              <a:rPr lang="en-US" noProof="0"/>
              <a:t>Click icon to add picture</a:t>
            </a:r>
            <a:endParaRPr lang="en-US" noProof="0" dirty="0"/>
          </a:p>
        </p:txBody>
      </p:sp>
      <p:sp>
        <p:nvSpPr>
          <p:cNvPr id="6" name="overlay"/>
          <p:cNvSpPr>
            <a:spLocks noGrp="1"/>
          </p:cNvSpPr>
          <p:nvPr>
            <p:ph type="body" sz="quarter" idx="16"/>
          </p:nvPr>
        </p:nvSpPr>
        <p:spPr>
          <a:xfrm>
            <a:off x="-1" y="1615262"/>
            <a:ext cx="8867775" cy="5242737"/>
          </a:xfrm>
          <a:prstGeom prst="rect">
            <a:avLst/>
          </a:prstGeom>
          <a:gradFill flip="none" rotWithShape="1">
            <a:gsLst>
              <a:gs pos="0">
                <a:srgbClr val="000000">
                  <a:alpha val="0"/>
                </a:srgbClr>
              </a:gs>
              <a:gs pos="100000">
                <a:srgbClr val="000000">
                  <a:alpha val="33000"/>
                </a:srgbClr>
              </a:gs>
            </a:gsLst>
            <a:lin ang="10800000" scaled="1"/>
            <a:tileRect/>
          </a:gradFill>
        </p:spPr>
        <p:txBody>
          <a:bodyPr/>
          <a:lstStyle>
            <a:lvl1pPr marL="0" indent="0">
              <a:buNone/>
              <a:defRPr/>
            </a:lvl1pPr>
          </a:lstStyle>
          <a:p>
            <a:pPr lvl="0"/>
            <a:r>
              <a:rPr lang="en-US"/>
              <a:t>Click to edit Master text styles</a:t>
            </a:r>
          </a:p>
        </p:txBody>
      </p:sp>
      <p:sp>
        <p:nvSpPr>
          <p:cNvPr id="8" name="Text Placeholder 6"/>
          <p:cNvSpPr>
            <a:spLocks noGrp="1"/>
          </p:cNvSpPr>
          <p:nvPr>
            <p:ph type="body" sz="quarter" idx="12"/>
          </p:nvPr>
        </p:nvSpPr>
        <p:spPr>
          <a:xfrm>
            <a:off x="554400" y="2348637"/>
            <a:ext cx="4984854" cy="3960000"/>
          </a:xfrm>
        </p:spPr>
        <p:txBody>
          <a:bodyP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2" name="Slide Number Placeholder 2">
            <a:extLst>
              <a:ext uri="{FF2B5EF4-FFF2-40B4-BE49-F238E27FC236}">
                <a16:creationId xmlns:a16="http://schemas.microsoft.com/office/drawing/2014/main" id="{8E8CCBC2-F903-4BC1-CFFC-33F53EDFFB21}"/>
              </a:ext>
            </a:extLst>
          </p:cNvPr>
          <p:cNvSpPr>
            <a:spLocks noGrp="1"/>
          </p:cNvSpPr>
          <p:nvPr>
            <p:ph type="sldNum" sz="quarter" idx="17"/>
          </p:nvPr>
        </p:nvSpPr>
        <p:spPr/>
        <p:txBody>
          <a:bodyPr/>
          <a:lstStyle>
            <a:lvl1pPr>
              <a:defRPr>
                <a:solidFill>
                  <a:schemeClr val="bg1"/>
                </a:solidFill>
              </a:defRPr>
            </a:lvl1pPr>
          </a:lstStyle>
          <a:p>
            <a:pPr>
              <a:defRPr/>
            </a:pPr>
            <a:fld id="{C17450F5-7CB7-4876-B773-3305B63487A5}" type="slidenum">
              <a:rPr lang="de-DE"/>
              <a:pPr>
                <a:defRPr/>
              </a:pPr>
              <a:t>‹#›</a:t>
            </a:fld>
            <a:endParaRPr lang="de-DE" dirty="0"/>
          </a:p>
        </p:txBody>
      </p:sp>
    </p:spTree>
    <p:extLst>
      <p:ext uri="{BB962C8B-B14F-4D97-AF65-F5344CB8AC3E}">
        <p14:creationId xmlns:p14="http://schemas.microsoft.com/office/powerpoint/2010/main" val="2065622608"/>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ull_image_text_msg_light">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92000" cy="6858000"/>
          </a:xfrm>
          <a:solidFill>
            <a:schemeClr val="bg2"/>
          </a:solidFill>
        </p:spPr>
        <p:txBody>
          <a:bodyPr rIns="3240000" rtlCol="0" anchor="ctr">
            <a:normAutofit/>
          </a:bodyPr>
          <a:lstStyle>
            <a:lvl1pPr algn="r">
              <a:defRPr/>
            </a:lvl1pPr>
          </a:lstStyle>
          <a:p>
            <a:pPr lvl="0"/>
            <a:r>
              <a:rPr lang="en-US" noProof="0"/>
              <a:t>Click icon to add picture</a:t>
            </a:r>
            <a:endParaRPr lang="en-US" noProof="0" dirty="0"/>
          </a:p>
        </p:txBody>
      </p:sp>
      <p:sp>
        <p:nvSpPr>
          <p:cNvPr id="7" name="Text Placeholder 6"/>
          <p:cNvSpPr>
            <a:spLocks noGrp="1"/>
          </p:cNvSpPr>
          <p:nvPr>
            <p:ph type="body" sz="quarter" idx="12"/>
          </p:nvPr>
        </p:nvSpPr>
        <p:spPr>
          <a:xfrm>
            <a:off x="554400" y="1639758"/>
            <a:ext cx="4984854" cy="3600000"/>
          </a:xfrm>
        </p:spPr>
        <p:txBody>
          <a:bodyPr anchor="ctr">
            <a:noAutofit/>
          </a:bodyPr>
          <a:lstStyle>
            <a:lvl1pPr>
              <a:spcAft>
                <a:spcPts val="1200"/>
              </a:spcAft>
              <a:defRPr sz="3600" b="1"/>
            </a:lvl1pPr>
            <a:lvl2pPr>
              <a:defRPr sz="3600"/>
            </a:lvl2pPr>
            <a:lvl3pPr>
              <a:defRPr sz="3600"/>
            </a:lvl3pPr>
            <a:lvl4pPr>
              <a:defRPr sz="3600"/>
            </a:lvl4pPr>
            <a:lvl5pPr>
              <a:defRPr sz="3600"/>
            </a:lvl5pPr>
          </a:lstStyle>
          <a:p>
            <a:pPr lvl="0"/>
            <a:r>
              <a:rPr lang="en-US" noProof="0"/>
              <a:t>Click to edit Master text styles</a:t>
            </a:r>
          </a:p>
        </p:txBody>
      </p:sp>
      <p:sp>
        <p:nvSpPr>
          <p:cNvPr id="9"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2" name="Foliennummernplatzhalter 5">
            <a:extLst>
              <a:ext uri="{FF2B5EF4-FFF2-40B4-BE49-F238E27FC236}">
                <a16:creationId xmlns:a16="http://schemas.microsoft.com/office/drawing/2014/main" id="{D90E4379-D81C-057A-FCBF-C33E7F53A758}"/>
              </a:ext>
            </a:extLst>
          </p:cNvPr>
          <p:cNvSpPr>
            <a:spLocks noGrp="1"/>
          </p:cNvSpPr>
          <p:nvPr>
            <p:ph type="sldNum" sz="quarter" idx="17"/>
          </p:nvPr>
        </p:nvSpPr>
        <p:spPr/>
        <p:txBody>
          <a:bodyPr/>
          <a:lstStyle>
            <a:lvl1pPr>
              <a:defRPr/>
            </a:lvl1pPr>
          </a:lstStyle>
          <a:p>
            <a:pPr>
              <a:defRPr/>
            </a:pPr>
            <a:fld id="{7C93C9D8-6FB4-484D-BA53-EEA6AB5B17F7}" type="slidenum">
              <a:rPr lang="de-DE"/>
              <a:pPr>
                <a:defRPr/>
              </a:pPr>
              <a:t>‹#›</a:t>
            </a:fld>
            <a:endParaRPr lang="de-DE" dirty="0"/>
          </a:p>
        </p:txBody>
      </p:sp>
    </p:spTree>
    <p:extLst>
      <p:ext uri="{BB962C8B-B14F-4D97-AF65-F5344CB8AC3E}">
        <p14:creationId xmlns:p14="http://schemas.microsoft.com/office/powerpoint/2010/main" val="2327863037"/>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ull_image_text_msg_dark">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92000" cy="6858000"/>
          </a:xfrm>
          <a:solidFill>
            <a:schemeClr val="accent6"/>
          </a:solidFill>
        </p:spPr>
        <p:txBody>
          <a:bodyPr rIns="3240000" rtlCol="0" anchor="ctr">
            <a:normAutofit/>
          </a:bodyPr>
          <a:lstStyle>
            <a:lvl1pPr algn="r">
              <a:defRPr>
                <a:solidFill>
                  <a:schemeClr val="bg2"/>
                </a:solidFill>
              </a:defRPr>
            </a:lvl1pPr>
          </a:lstStyle>
          <a:p>
            <a:pPr lvl="0"/>
            <a:r>
              <a:rPr lang="en-US" noProof="0"/>
              <a:t>Click icon to add picture</a:t>
            </a:r>
            <a:endParaRPr lang="en-US" noProof="0" dirty="0"/>
          </a:p>
        </p:txBody>
      </p:sp>
      <p:sp>
        <p:nvSpPr>
          <p:cNvPr id="8" name="overlay"/>
          <p:cNvSpPr>
            <a:spLocks noGrp="1"/>
          </p:cNvSpPr>
          <p:nvPr>
            <p:ph type="body" sz="quarter" idx="17"/>
          </p:nvPr>
        </p:nvSpPr>
        <p:spPr>
          <a:xfrm>
            <a:off x="-1" y="0"/>
            <a:ext cx="8867775" cy="6857999"/>
          </a:xfrm>
          <a:prstGeom prst="rect">
            <a:avLst/>
          </a:prstGeom>
          <a:gradFill flip="none" rotWithShape="1">
            <a:gsLst>
              <a:gs pos="0">
                <a:srgbClr val="000000">
                  <a:alpha val="0"/>
                </a:srgbClr>
              </a:gs>
              <a:gs pos="100000">
                <a:srgbClr val="000000">
                  <a:alpha val="33000"/>
                </a:srgbClr>
              </a:gs>
            </a:gsLst>
            <a:lin ang="10800000" scaled="1"/>
            <a:tileRect/>
          </a:gradFill>
        </p:spPr>
        <p:txBody>
          <a:bodyPr/>
          <a:lstStyle>
            <a:lvl1pPr marL="0" indent="0">
              <a:buNone/>
              <a:defRPr/>
            </a:lvl1pPr>
          </a:lstStyle>
          <a:p>
            <a:pPr lvl="0"/>
            <a:r>
              <a:rPr lang="en-US"/>
              <a:t>Click to edit Master text styles</a:t>
            </a:r>
          </a:p>
        </p:txBody>
      </p:sp>
      <p:sp>
        <p:nvSpPr>
          <p:cNvPr id="7" name="Text Placeholder 6"/>
          <p:cNvSpPr>
            <a:spLocks noGrp="1"/>
          </p:cNvSpPr>
          <p:nvPr>
            <p:ph type="body" sz="quarter" idx="12"/>
          </p:nvPr>
        </p:nvSpPr>
        <p:spPr>
          <a:xfrm>
            <a:off x="554400" y="1639758"/>
            <a:ext cx="4984854" cy="3600000"/>
          </a:xfrm>
        </p:spPr>
        <p:txBody>
          <a:bodyPr anchor="ctr">
            <a:noAutofit/>
          </a:bodyPr>
          <a:lstStyle>
            <a:lvl1pPr>
              <a:spcAft>
                <a:spcPts val="1200"/>
              </a:spcAft>
              <a:defRPr sz="3600" b="1">
                <a:solidFill>
                  <a:schemeClr val="bg2"/>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6"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2" name="Slide Number Placeholder 2">
            <a:extLst>
              <a:ext uri="{FF2B5EF4-FFF2-40B4-BE49-F238E27FC236}">
                <a16:creationId xmlns:a16="http://schemas.microsoft.com/office/drawing/2014/main" id="{D472D855-7C3C-9514-B446-C281F80F77B2}"/>
              </a:ext>
            </a:extLst>
          </p:cNvPr>
          <p:cNvSpPr>
            <a:spLocks noGrp="1"/>
          </p:cNvSpPr>
          <p:nvPr>
            <p:ph type="sldNum" sz="quarter" idx="18"/>
          </p:nvPr>
        </p:nvSpPr>
        <p:spPr/>
        <p:txBody>
          <a:bodyPr/>
          <a:lstStyle>
            <a:lvl1pPr>
              <a:defRPr>
                <a:solidFill>
                  <a:schemeClr val="bg2"/>
                </a:solidFill>
              </a:defRPr>
            </a:lvl1pPr>
          </a:lstStyle>
          <a:p>
            <a:pPr>
              <a:defRPr/>
            </a:pPr>
            <a:fld id="{6CF28E1B-7365-4504-8EFC-53BD2014FAC4}" type="slidenum">
              <a:rPr lang="de-DE"/>
              <a:pPr>
                <a:defRPr/>
              </a:pPr>
              <a:t>‹#›</a:t>
            </a:fld>
            <a:endParaRPr lang="de-DE" dirty="0"/>
          </a:p>
        </p:txBody>
      </p:sp>
    </p:spTree>
    <p:extLst>
      <p:ext uri="{BB962C8B-B14F-4D97-AF65-F5344CB8AC3E}">
        <p14:creationId xmlns:p14="http://schemas.microsoft.com/office/powerpoint/2010/main" val="940209487"/>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Msg_right+Full_image_light">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4113" y="0"/>
            <a:ext cx="12193200" cy="6858000"/>
          </a:xfrm>
          <a:prstGeom prst="rect">
            <a:avLst/>
          </a:prstGeom>
          <a:solidFill>
            <a:schemeClr val="bg2"/>
          </a:solidFill>
        </p:spPr>
        <p:txBody>
          <a:bodyPr lIns="3240000" rtlCol="0" anchor="ctr">
            <a:normAutofit/>
          </a:bodyPr>
          <a:lstStyle>
            <a:lvl1pPr marL="0" indent="0" algn="l">
              <a:buNone/>
              <a:defRPr>
                <a:solidFill>
                  <a:schemeClr val="tx2"/>
                </a:solidFill>
              </a:defRPr>
            </a:lvl1pPr>
          </a:lstStyle>
          <a:p>
            <a:pPr lvl="0"/>
            <a:r>
              <a:rPr lang="en-US" noProof="0"/>
              <a:t>Click icon to add picture</a:t>
            </a:r>
            <a:endParaRPr lang="en-US" noProof="0" dirty="0"/>
          </a:p>
        </p:txBody>
      </p:sp>
      <p:sp>
        <p:nvSpPr>
          <p:cNvPr id="9"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6" name="Text Placeholder 6"/>
          <p:cNvSpPr>
            <a:spLocks noGrp="1"/>
          </p:cNvSpPr>
          <p:nvPr>
            <p:ph type="body" sz="quarter" idx="17"/>
          </p:nvPr>
        </p:nvSpPr>
        <p:spPr>
          <a:xfrm>
            <a:off x="6646861" y="1639758"/>
            <a:ext cx="4984854" cy="3600000"/>
          </a:xfrm>
        </p:spPr>
        <p:txBody>
          <a:bodyPr anchor="ctr">
            <a:noAutofit/>
          </a:bodyPr>
          <a:lstStyle>
            <a:lvl1pPr>
              <a:spcAft>
                <a:spcPts val="1200"/>
              </a:spcAft>
              <a:defRPr sz="3600" b="1"/>
            </a:lvl1pPr>
            <a:lvl2pPr>
              <a:defRPr sz="3600"/>
            </a:lvl2pPr>
            <a:lvl3pPr>
              <a:defRPr sz="3600"/>
            </a:lvl3pPr>
            <a:lvl4pPr>
              <a:defRPr sz="3600"/>
            </a:lvl4pPr>
            <a:lvl5pPr>
              <a:defRPr sz="3600"/>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77BBEB3A-A1F3-DC23-D7CA-F30D1F9B8266}"/>
              </a:ext>
            </a:extLst>
          </p:cNvPr>
          <p:cNvSpPr>
            <a:spLocks noGrp="1"/>
          </p:cNvSpPr>
          <p:nvPr>
            <p:ph type="sldNum" sz="quarter" idx="18"/>
          </p:nvPr>
        </p:nvSpPr>
        <p:spPr/>
        <p:txBody>
          <a:bodyPr/>
          <a:lstStyle>
            <a:lvl1pPr algn="r">
              <a:defRPr sz="1000">
                <a:solidFill>
                  <a:srgbClr val="000000"/>
                </a:solidFill>
              </a:defRPr>
            </a:lvl1pPr>
          </a:lstStyle>
          <a:p>
            <a:pPr>
              <a:defRPr/>
            </a:pPr>
            <a:fld id="{3B6E2C78-3C1C-483A-B2B5-EC7358B7BA85}" type="slidenum">
              <a:rPr lang="en-GB"/>
              <a:pPr>
                <a:defRPr/>
              </a:pPr>
              <a:t>‹#›</a:t>
            </a:fld>
            <a:endParaRPr lang="en-GB" dirty="0"/>
          </a:p>
        </p:txBody>
      </p:sp>
    </p:spTree>
    <p:extLst>
      <p:ext uri="{BB962C8B-B14F-4D97-AF65-F5344CB8AC3E}">
        <p14:creationId xmlns:p14="http://schemas.microsoft.com/office/powerpoint/2010/main" val="878934134"/>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Msg_left+Full_image_dark">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4113" y="0"/>
            <a:ext cx="12193200" cy="6858000"/>
          </a:xfrm>
          <a:prstGeom prst="rect">
            <a:avLst/>
          </a:prstGeom>
          <a:solidFill>
            <a:schemeClr val="accent6"/>
          </a:solidFill>
        </p:spPr>
        <p:txBody>
          <a:bodyPr lIns="3240000" rtlCol="0" anchor="ctr">
            <a:normAutofit/>
          </a:bodyPr>
          <a:lstStyle>
            <a:lvl1pPr marL="0" indent="0" algn="l">
              <a:buNone/>
              <a:defRPr>
                <a:solidFill>
                  <a:schemeClr val="bg1"/>
                </a:solidFill>
              </a:defRPr>
            </a:lvl1pPr>
          </a:lstStyle>
          <a:p>
            <a:pPr lvl="0"/>
            <a:r>
              <a:rPr lang="en-US" noProof="0"/>
              <a:t>Click icon to add picture</a:t>
            </a:r>
            <a:endParaRPr lang="en-US" noProof="0" dirty="0"/>
          </a:p>
        </p:txBody>
      </p:sp>
      <p:sp>
        <p:nvSpPr>
          <p:cNvPr id="6" name="overlay"/>
          <p:cNvSpPr>
            <a:spLocks noGrp="1"/>
          </p:cNvSpPr>
          <p:nvPr>
            <p:ph type="body" sz="quarter" idx="17"/>
          </p:nvPr>
        </p:nvSpPr>
        <p:spPr>
          <a:xfrm flipH="1">
            <a:off x="3314699" y="0"/>
            <a:ext cx="8867775" cy="6857999"/>
          </a:xfrm>
          <a:prstGeom prst="rect">
            <a:avLst/>
          </a:prstGeom>
          <a:gradFill flip="none" rotWithShape="1">
            <a:gsLst>
              <a:gs pos="0">
                <a:srgbClr val="000000">
                  <a:alpha val="0"/>
                </a:srgbClr>
              </a:gs>
              <a:gs pos="100000">
                <a:srgbClr val="000000">
                  <a:alpha val="33000"/>
                </a:srgbClr>
              </a:gs>
            </a:gsLst>
            <a:lin ang="10800000" scaled="1"/>
            <a:tileRect/>
          </a:gradFill>
        </p:spPr>
        <p:txBody>
          <a:bodyPr/>
          <a:lstStyle>
            <a:lvl1pPr marL="0" indent="0">
              <a:buNone/>
              <a:defRPr/>
            </a:lvl1pPr>
          </a:lstStyle>
          <a:p>
            <a:pPr lvl="0"/>
            <a:r>
              <a:rPr lang="en-US"/>
              <a:t>Click to edit Master text styles</a:t>
            </a:r>
          </a:p>
        </p:txBody>
      </p:sp>
      <p:sp>
        <p:nvSpPr>
          <p:cNvPr id="7"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8" name="Text Placeholder 6"/>
          <p:cNvSpPr>
            <a:spLocks noGrp="1"/>
          </p:cNvSpPr>
          <p:nvPr>
            <p:ph type="body" sz="quarter" idx="18"/>
          </p:nvPr>
        </p:nvSpPr>
        <p:spPr>
          <a:xfrm>
            <a:off x="6646861" y="1639758"/>
            <a:ext cx="4984854" cy="3600000"/>
          </a:xfrm>
        </p:spPr>
        <p:txBody>
          <a:bodyPr anchor="ct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054BA285-7B3C-6DB1-9C35-703948577327}"/>
              </a:ext>
            </a:extLst>
          </p:cNvPr>
          <p:cNvSpPr>
            <a:spLocks noGrp="1"/>
          </p:cNvSpPr>
          <p:nvPr>
            <p:ph type="sldNum" sz="quarter" idx="19"/>
          </p:nvPr>
        </p:nvSpPr>
        <p:spPr/>
        <p:txBody>
          <a:bodyPr/>
          <a:lstStyle>
            <a:lvl1pPr algn="r">
              <a:defRPr sz="1000">
                <a:solidFill>
                  <a:schemeClr val="bg1"/>
                </a:solidFill>
              </a:defRPr>
            </a:lvl1pPr>
          </a:lstStyle>
          <a:p>
            <a:pPr>
              <a:defRPr/>
            </a:pPr>
            <a:fld id="{37F2080C-B3C1-48E1-9AC1-4EBEE490C8C3}" type="slidenum">
              <a:rPr lang="en-GB"/>
              <a:pPr>
                <a:defRPr/>
              </a:pPr>
              <a:t>‹#›</a:t>
            </a:fld>
            <a:endParaRPr lang="en-GB" dirty="0"/>
          </a:p>
        </p:txBody>
      </p:sp>
    </p:spTree>
    <p:extLst>
      <p:ext uri="{BB962C8B-B14F-4D97-AF65-F5344CB8AC3E}">
        <p14:creationId xmlns:p14="http://schemas.microsoft.com/office/powerpoint/2010/main" val="2564342858"/>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left_image">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0" y="0"/>
            <a:ext cx="6096000" cy="6858000"/>
          </a:xfrm>
          <a:prstGeom prst="rect">
            <a:avLst/>
          </a:prstGeom>
          <a:solidFill>
            <a:schemeClr val="bg2"/>
          </a:solidFill>
          <a:ln>
            <a:noFill/>
          </a:ln>
        </p:spPr>
        <p:txBody>
          <a:bodyPr tIns="2628000" rtlCol="0">
            <a:normAutofit/>
          </a:bodyPr>
          <a:lstStyle>
            <a:lvl1pPr marL="0" indent="0" algn="ctr">
              <a:buNone/>
              <a:defRPr>
                <a:solidFill>
                  <a:srgbClr val="000000"/>
                </a:solidFill>
              </a:defRPr>
            </a:lvl1pPr>
          </a:lstStyle>
          <a:p>
            <a:pPr lvl="0"/>
            <a:r>
              <a:rPr lang="en-US" noProof="0"/>
              <a:t>Click icon to add picture</a:t>
            </a:r>
            <a:endParaRPr lang="en-US" noProof="0" dirty="0"/>
          </a:p>
        </p:txBody>
      </p:sp>
      <p:sp>
        <p:nvSpPr>
          <p:cNvPr id="2" name="Slide Number Placeholder 3">
            <a:extLst>
              <a:ext uri="{FF2B5EF4-FFF2-40B4-BE49-F238E27FC236}">
                <a16:creationId xmlns:a16="http://schemas.microsoft.com/office/drawing/2014/main" id="{CB210644-BC34-E1C1-6924-467C5D80AFD7}"/>
              </a:ext>
            </a:extLst>
          </p:cNvPr>
          <p:cNvSpPr>
            <a:spLocks noGrp="1"/>
          </p:cNvSpPr>
          <p:nvPr>
            <p:ph type="sldNum" sz="quarter" idx="11"/>
          </p:nvPr>
        </p:nvSpPr>
        <p:spPr/>
        <p:txBody>
          <a:bodyPr/>
          <a:lstStyle>
            <a:lvl1pPr algn="r">
              <a:defRPr sz="1000">
                <a:solidFill>
                  <a:srgbClr val="000000"/>
                </a:solidFill>
              </a:defRPr>
            </a:lvl1pPr>
          </a:lstStyle>
          <a:p>
            <a:pPr>
              <a:defRPr/>
            </a:pPr>
            <a:fld id="{F6CAA0FC-AC80-4A18-AEB6-19DC9E06A0F1}" type="slidenum">
              <a:rPr lang="en-GB"/>
              <a:pPr>
                <a:defRPr/>
              </a:pPr>
              <a:t>‹#›</a:t>
            </a:fld>
            <a:endParaRPr lang="en-GB" dirty="0"/>
          </a:p>
        </p:txBody>
      </p:sp>
    </p:spTree>
    <p:extLst>
      <p:ext uri="{BB962C8B-B14F-4D97-AF65-F5344CB8AC3E}">
        <p14:creationId xmlns:p14="http://schemas.microsoft.com/office/powerpoint/2010/main" val="426171755"/>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_slide_light_image_V3">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A3F39376-FA50-7794-A27F-306A20FBDB60}"/>
              </a:ext>
            </a:extLst>
          </p:cNvPr>
          <p:cNvSpPr>
            <a:spLocks noEditPoints="1"/>
          </p:cNvSpPr>
          <p:nvPr/>
        </p:nvSpPr>
        <p:spPr bwMode="auto">
          <a:xfrm>
            <a:off x="8850313" y="568325"/>
            <a:ext cx="2767012" cy="554038"/>
          </a:xfrm>
          <a:custGeom>
            <a:avLst/>
            <a:gdLst>
              <a:gd name="T0" fmla="*/ 2486025 w 1743"/>
              <a:gd name="T1" fmla="*/ 163513 h 349"/>
              <a:gd name="T2" fmla="*/ 2508250 w 1743"/>
              <a:gd name="T3" fmla="*/ 209550 h 349"/>
              <a:gd name="T4" fmla="*/ 2459037 w 1743"/>
              <a:gd name="T5" fmla="*/ 188913 h 349"/>
              <a:gd name="T6" fmla="*/ 2390775 w 1743"/>
              <a:gd name="T7" fmla="*/ 536575 h 349"/>
              <a:gd name="T8" fmla="*/ 2538412 w 1743"/>
              <a:gd name="T9" fmla="*/ 549275 h 349"/>
              <a:gd name="T10" fmla="*/ 2630487 w 1743"/>
              <a:gd name="T11" fmla="*/ 452438 h 349"/>
              <a:gd name="T12" fmla="*/ 2559050 w 1743"/>
              <a:gd name="T13" fmla="*/ 311150 h 349"/>
              <a:gd name="T14" fmla="*/ 2547937 w 1743"/>
              <a:gd name="T15" fmla="*/ 209550 h 349"/>
              <a:gd name="T16" fmla="*/ 2532062 w 1743"/>
              <a:gd name="T17" fmla="*/ 146050 h 349"/>
              <a:gd name="T18" fmla="*/ 2462212 w 1743"/>
              <a:gd name="T19" fmla="*/ 133350 h 349"/>
              <a:gd name="T20" fmla="*/ 2422525 w 1743"/>
              <a:gd name="T21" fmla="*/ 188913 h 349"/>
              <a:gd name="T22" fmla="*/ 2416175 w 1743"/>
              <a:gd name="T23" fmla="*/ 274638 h 349"/>
              <a:gd name="T24" fmla="*/ 2368550 w 1743"/>
              <a:gd name="T25" fmla="*/ 471488 h 349"/>
              <a:gd name="T26" fmla="*/ 2220912 w 1743"/>
              <a:gd name="T27" fmla="*/ 193675 h 349"/>
              <a:gd name="T28" fmla="*/ 2332037 w 1743"/>
              <a:gd name="T29" fmla="*/ 49213 h 349"/>
              <a:gd name="T30" fmla="*/ 2489200 w 1743"/>
              <a:gd name="T31" fmla="*/ 0 h 349"/>
              <a:gd name="T32" fmla="*/ 2663825 w 1743"/>
              <a:gd name="T33" fmla="*/ 63500 h 349"/>
              <a:gd name="T34" fmla="*/ 2762250 w 1743"/>
              <a:gd name="T35" fmla="*/ 219075 h 349"/>
              <a:gd name="T36" fmla="*/ 2747962 w 1743"/>
              <a:gd name="T37" fmla="*/ 371475 h 349"/>
              <a:gd name="T38" fmla="*/ 2674937 w 1743"/>
              <a:gd name="T39" fmla="*/ 403225 h 349"/>
              <a:gd name="T40" fmla="*/ 2716212 w 1743"/>
              <a:gd name="T41" fmla="*/ 274638 h 349"/>
              <a:gd name="T42" fmla="*/ 2676525 w 1743"/>
              <a:gd name="T43" fmla="*/ 147638 h 349"/>
              <a:gd name="T44" fmla="*/ 2554287 w 1743"/>
              <a:gd name="T45" fmla="*/ 58738 h 349"/>
              <a:gd name="T46" fmla="*/ 2420937 w 1743"/>
              <a:gd name="T47" fmla="*/ 58738 h 349"/>
              <a:gd name="T48" fmla="*/ 2300287 w 1743"/>
              <a:gd name="T49" fmla="*/ 147638 h 349"/>
              <a:gd name="T50" fmla="*/ 2262187 w 1743"/>
              <a:gd name="T51" fmla="*/ 274638 h 349"/>
              <a:gd name="T52" fmla="*/ 2300287 w 1743"/>
              <a:gd name="T53" fmla="*/ 403225 h 349"/>
              <a:gd name="T54" fmla="*/ 2227262 w 1743"/>
              <a:gd name="T55" fmla="*/ 371475 h 349"/>
              <a:gd name="T56" fmla="*/ 1968500 w 1743"/>
              <a:gd name="T57" fmla="*/ 188913 h 349"/>
              <a:gd name="T58" fmla="*/ 1935162 w 1743"/>
              <a:gd name="T59" fmla="*/ 361950 h 349"/>
              <a:gd name="T60" fmla="*/ 1852612 w 1743"/>
              <a:gd name="T61" fmla="*/ 228600 h 349"/>
              <a:gd name="T62" fmla="*/ 1612900 w 1743"/>
              <a:gd name="T63" fmla="*/ 257175 h 349"/>
              <a:gd name="T64" fmla="*/ 1695450 w 1743"/>
              <a:gd name="T65" fmla="*/ 184150 h 349"/>
              <a:gd name="T66" fmla="*/ 1762125 w 1743"/>
              <a:gd name="T67" fmla="*/ 219075 h 349"/>
              <a:gd name="T68" fmla="*/ 1704975 w 1743"/>
              <a:gd name="T69" fmla="*/ 223838 h 349"/>
              <a:gd name="T70" fmla="*/ 1663700 w 1743"/>
              <a:gd name="T71" fmla="*/ 246063 h 349"/>
              <a:gd name="T72" fmla="*/ 1673225 w 1743"/>
              <a:gd name="T73" fmla="*/ 320675 h 349"/>
              <a:gd name="T74" fmla="*/ 1727200 w 1743"/>
              <a:gd name="T75" fmla="*/ 298450 h 349"/>
              <a:gd name="T76" fmla="*/ 1736725 w 1743"/>
              <a:gd name="T77" fmla="*/ 361950 h 349"/>
              <a:gd name="T78" fmla="*/ 1635125 w 1743"/>
              <a:gd name="T79" fmla="*/ 344488 h 349"/>
              <a:gd name="T80" fmla="*/ 1512887 w 1743"/>
              <a:gd name="T81" fmla="*/ 234950 h 349"/>
              <a:gd name="T82" fmla="*/ 1557337 w 1743"/>
              <a:gd name="T83" fmla="*/ 361950 h 349"/>
              <a:gd name="T84" fmla="*/ 1293812 w 1743"/>
              <a:gd name="T85" fmla="*/ 260350 h 349"/>
              <a:gd name="T86" fmla="*/ 1252537 w 1743"/>
              <a:gd name="T87" fmla="*/ 188913 h 349"/>
              <a:gd name="T88" fmla="*/ 1150937 w 1743"/>
              <a:gd name="T89" fmla="*/ 271463 h 349"/>
              <a:gd name="T90" fmla="*/ 1057275 w 1743"/>
              <a:gd name="T91" fmla="*/ 293688 h 349"/>
              <a:gd name="T92" fmla="*/ 1022350 w 1743"/>
              <a:gd name="T93" fmla="*/ 257175 h 349"/>
              <a:gd name="T94" fmla="*/ 714375 w 1743"/>
              <a:gd name="T95" fmla="*/ 361950 h 349"/>
              <a:gd name="T96" fmla="*/ 825500 w 1743"/>
              <a:gd name="T97" fmla="*/ 292100 h 349"/>
              <a:gd name="T98" fmla="*/ 630237 w 1743"/>
              <a:gd name="T99" fmla="*/ 296863 h 349"/>
              <a:gd name="T100" fmla="*/ 568325 w 1743"/>
              <a:gd name="T101" fmla="*/ 188913 h 349"/>
              <a:gd name="T102" fmla="*/ 403225 w 1743"/>
              <a:gd name="T103" fmla="*/ 293688 h 349"/>
              <a:gd name="T104" fmla="*/ 358775 w 1743"/>
              <a:gd name="T105" fmla="*/ 188913 h 349"/>
              <a:gd name="T106" fmla="*/ 192087 w 1743"/>
              <a:gd name="T107" fmla="*/ 349250 h 349"/>
              <a:gd name="T108" fmla="*/ 273050 w 1743"/>
              <a:gd name="T109" fmla="*/ 365125 h 349"/>
              <a:gd name="T110" fmla="*/ 319087 w 1743"/>
              <a:gd name="T111" fmla="*/ 188913 h 349"/>
              <a:gd name="T112" fmla="*/ 246062 w 1743"/>
              <a:gd name="T113" fmla="*/ 328613 h 349"/>
              <a:gd name="T114" fmla="*/ 171450 w 1743"/>
              <a:gd name="T115" fmla="*/ 188913 h 349"/>
              <a:gd name="T116" fmla="*/ 153987 w 1743"/>
              <a:gd name="T117" fmla="*/ 361950 h 349"/>
              <a:gd name="T118" fmla="*/ 0 w 1743"/>
              <a:gd name="T119" fmla="*/ 361950 h 3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743" h="349">
                <a:moveTo>
                  <a:pt x="1549" y="119"/>
                </a:moveTo>
                <a:lnTo>
                  <a:pt x="1549" y="119"/>
                </a:lnTo>
                <a:lnTo>
                  <a:pt x="1551" y="113"/>
                </a:lnTo>
                <a:lnTo>
                  <a:pt x="1554" y="107"/>
                </a:lnTo>
                <a:lnTo>
                  <a:pt x="1560" y="104"/>
                </a:lnTo>
                <a:lnTo>
                  <a:pt x="1566" y="103"/>
                </a:lnTo>
                <a:lnTo>
                  <a:pt x="1574" y="104"/>
                </a:lnTo>
                <a:lnTo>
                  <a:pt x="1580" y="107"/>
                </a:lnTo>
                <a:lnTo>
                  <a:pt x="1583" y="113"/>
                </a:lnTo>
                <a:lnTo>
                  <a:pt x="1585" y="119"/>
                </a:lnTo>
                <a:lnTo>
                  <a:pt x="1583" y="127"/>
                </a:lnTo>
                <a:lnTo>
                  <a:pt x="1580" y="132"/>
                </a:lnTo>
                <a:lnTo>
                  <a:pt x="1574" y="136"/>
                </a:lnTo>
                <a:lnTo>
                  <a:pt x="1566" y="138"/>
                </a:lnTo>
                <a:lnTo>
                  <a:pt x="1560" y="136"/>
                </a:lnTo>
                <a:lnTo>
                  <a:pt x="1554" y="132"/>
                </a:lnTo>
                <a:lnTo>
                  <a:pt x="1551" y="127"/>
                </a:lnTo>
                <a:lnTo>
                  <a:pt x="1549" y="119"/>
                </a:lnTo>
                <a:close/>
                <a:moveTo>
                  <a:pt x="1454" y="308"/>
                </a:moveTo>
                <a:lnTo>
                  <a:pt x="1454" y="308"/>
                </a:lnTo>
                <a:lnTo>
                  <a:pt x="1466" y="317"/>
                </a:lnTo>
                <a:lnTo>
                  <a:pt x="1479" y="325"/>
                </a:lnTo>
                <a:lnTo>
                  <a:pt x="1492" y="332"/>
                </a:lnTo>
                <a:lnTo>
                  <a:pt x="1506" y="338"/>
                </a:lnTo>
                <a:lnTo>
                  <a:pt x="1522" y="343"/>
                </a:lnTo>
                <a:lnTo>
                  <a:pt x="1536" y="346"/>
                </a:lnTo>
                <a:lnTo>
                  <a:pt x="1551" y="347"/>
                </a:lnTo>
                <a:lnTo>
                  <a:pt x="1568" y="349"/>
                </a:lnTo>
                <a:lnTo>
                  <a:pt x="1583" y="347"/>
                </a:lnTo>
                <a:lnTo>
                  <a:pt x="1599" y="346"/>
                </a:lnTo>
                <a:lnTo>
                  <a:pt x="1612" y="343"/>
                </a:lnTo>
                <a:lnTo>
                  <a:pt x="1628" y="338"/>
                </a:lnTo>
                <a:lnTo>
                  <a:pt x="1642" y="332"/>
                </a:lnTo>
                <a:lnTo>
                  <a:pt x="1655" y="325"/>
                </a:lnTo>
                <a:lnTo>
                  <a:pt x="1668" y="317"/>
                </a:lnTo>
                <a:lnTo>
                  <a:pt x="1680" y="308"/>
                </a:lnTo>
                <a:lnTo>
                  <a:pt x="1657" y="285"/>
                </a:lnTo>
                <a:lnTo>
                  <a:pt x="1642" y="297"/>
                </a:lnTo>
                <a:lnTo>
                  <a:pt x="1623" y="308"/>
                </a:lnTo>
                <a:lnTo>
                  <a:pt x="1603" y="315"/>
                </a:lnTo>
                <a:lnTo>
                  <a:pt x="1583" y="318"/>
                </a:lnTo>
                <a:lnTo>
                  <a:pt x="1583" y="196"/>
                </a:lnTo>
                <a:lnTo>
                  <a:pt x="1612" y="196"/>
                </a:lnTo>
                <a:lnTo>
                  <a:pt x="1612" y="173"/>
                </a:lnTo>
                <a:lnTo>
                  <a:pt x="1583" y="173"/>
                </a:lnTo>
                <a:lnTo>
                  <a:pt x="1583" y="155"/>
                </a:lnTo>
                <a:lnTo>
                  <a:pt x="1592" y="150"/>
                </a:lnTo>
                <a:lnTo>
                  <a:pt x="1600" y="142"/>
                </a:lnTo>
                <a:lnTo>
                  <a:pt x="1605" y="132"/>
                </a:lnTo>
                <a:lnTo>
                  <a:pt x="1606" y="126"/>
                </a:lnTo>
                <a:lnTo>
                  <a:pt x="1608" y="119"/>
                </a:lnTo>
                <a:lnTo>
                  <a:pt x="1606" y="112"/>
                </a:lnTo>
                <a:lnTo>
                  <a:pt x="1605" y="104"/>
                </a:lnTo>
                <a:lnTo>
                  <a:pt x="1600" y="98"/>
                </a:lnTo>
                <a:lnTo>
                  <a:pt x="1595" y="92"/>
                </a:lnTo>
                <a:lnTo>
                  <a:pt x="1589" y="87"/>
                </a:lnTo>
                <a:lnTo>
                  <a:pt x="1583" y="84"/>
                </a:lnTo>
                <a:lnTo>
                  <a:pt x="1575" y="81"/>
                </a:lnTo>
                <a:lnTo>
                  <a:pt x="1568" y="81"/>
                </a:lnTo>
                <a:lnTo>
                  <a:pt x="1559" y="81"/>
                </a:lnTo>
                <a:lnTo>
                  <a:pt x="1551" y="84"/>
                </a:lnTo>
                <a:lnTo>
                  <a:pt x="1545" y="87"/>
                </a:lnTo>
                <a:lnTo>
                  <a:pt x="1539" y="92"/>
                </a:lnTo>
                <a:lnTo>
                  <a:pt x="1534" y="98"/>
                </a:lnTo>
                <a:lnTo>
                  <a:pt x="1529" y="104"/>
                </a:lnTo>
                <a:lnTo>
                  <a:pt x="1528" y="112"/>
                </a:lnTo>
                <a:lnTo>
                  <a:pt x="1526" y="119"/>
                </a:lnTo>
                <a:lnTo>
                  <a:pt x="1528" y="126"/>
                </a:lnTo>
                <a:lnTo>
                  <a:pt x="1529" y="132"/>
                </a:lnTo>
                <a:lnTo>
                  <a:pt x="1534" y="142"/>
                </a:lnTo>
                <a:lnTo>
                  <a:pt x="1542" y="150"/>
                </a:lnTo>
                <a:lnTo>
                  <a:pt x="1551" y="155"/>
                </a:lnTo>
                <a:lnTo>
                  <a:pt x="1551" y="173"/>
                </a:lnTo>
                <a:lnTo>
                  <a:pt x="1522" y="173"/>
                </a:lnTo>
                <a:lnTo>
                  <a:pt x="1522" y="196"/>
                </a:lnTo>
                <a:lnTo>
                  <a:pt x="1551" y="196"/>
                </a:lnTo>
                <a:lnTo>
                  <a:pt x="1551" y="318"/>
                </a:lnTo>
                <a:lnTo>
                  <a:pt x="1531" y="315"/>
                </a:lnTo>
                <a:lnTo>
                  <a:pt x="1511" y="308"/>
                </a:lnTo>
                <a:lnTo>
                  <a:pt x="1492" y="297"/>
                </a:lnTo>
                <a:lnTo>
                  <a:pt x="1477" y="285"/>
                </a:lnTo>
                <a:lnTo>
                  <a:pt x="1454" y="308"/>
                </a:lnTo>
                <a:close/>
                <a:moveTo>
                  <a:pt x="1391" y="173"/>
                </a:moveTo>
                <a:lnTo>
                  <a:pt x="1391" y="173"/>
                </a:lnTo>
                <a:lnTo>
                  <a:pt x="1393" y="156"/>
                </a:lnTo>
                <a:lnTo>
                  <a:pt x="1396" y="138"/>
                </a:lnTo>
                <a:lnTo>
                  <a:pt x="1399" y="122"/>
                </a:lnTo>
                <a:lnTo>
                  <a:pt x="1405" y="106"/>
                </a:lnTo>
                <a:lnTo>
                  <a:pt x="1413" y="90"/>
                </a:lnTo>
                <a:lnTo>
                  <a:pt x="1422" y="77"/>
                </a:lnTo>
                <a:lnTo>
                  <a:pt x="1431" y="63"/>
                </a:lnTo>
                <a:lnTo>
                  <a:pt x="1443" y="51"/>
                </a:lnTo>
                <a:lnTo>
                  <a:pt x="1456" y="40"/>
                </a:lnTo>
                <a:lnTo>
                  <a:pt x="1469" y="31"/>
                </a:lnTo>
                <a:lnTo>
                  <a:pt x="1483" y="21"/>
                </a:lnTo>
                <a:lnTo>
                  <a:pt x="1499" y="14"/>
                </a:lnTo>
                <a:lnTo>
                  <a:pt x="1516" y="8"/>
                </a:lnTo>
                <a:lnTo>
                  <a:pt x="1532" y="5"/>
                </a:lnTo>
                <a:lnTo>
                  <a:pt x="1549" y="2"/>
                </a:lnTo>
                <a:lnTo>
                  <a:pt x="1568" y="0"/>
                </a:lnTo>
                <a:lnTo>
                  <a:pt x="1585" y="2"/>
                </a:lnTo>
                <a:lnTo>
                  <a:pt x="1603" y="5"/>
                </a:lnTo>
                <a:lnTo>
                  <a:pt x="1619" y="8"/>
                </a:lnTo>
                <a:lnTo>
                  <a:pt x="1635" y="14"/>
                </a:lnTo>
                <a:lnTo>
                  <a:pt x="1651" y="21"/>
                </a:lnTo>
                <a:lnTo>
                  <a:pt x="1665" y="31"/>
                </a:lnTo>
                <a:lnTo>
                  <a:pt x="1678" y="40"/>
                </a:lnTo>
                <a:lnTo>
                  <a:pt x="1691" y="51"/>
                </a:lnTo>
                <a:lnTo>
                  <a:pt x="1703" y="63"/>
                </a:lnTo>
                <a:lnTo>
                  <a:pt x="1712" y="77"/>
                </a:lnTo>
                <a:lnTo>
                  <a:pt x="1721" y="90"/>
                </a:lnTo>
                <a:lnTo>
                  <a:pt x="1729" y="106"/>
                </a:lnTo>
                <a:lnTo>
                  <a:pt x="1735" y="122"/>
                </a:lnTo>
                <a:lnTo>
                  <a:pt x="1740" y="138"/>
                </a:lnTo>
                <a:lnTo>
                  <a:pt x="1741" y="156"/>
                </a:lnTo>
                <a:lnTo>
                  <a:pt x="1743" y="173"/>
                </a:lnTo>
                <a:lnTo>
                  <a:pt x="1741" y="190"/>
                </a:lnTo>
                <a:lnTo>
                  <a:pt x="1740" y="205"/>
                </a:lnTo>
                <a:lnTo>
                  <a:pt x="1737" y="220"/>
                </a:lnTo>
                <a:lnTo>
                  <a:pt x="1731" y="234"/>
                </a:lnTo>
                <a:lnTo>
                  <a:pt x="1726" y="250"/>
                </a:lnTo>
                <a:lnTo>
                  <a:pt x="1718" y="262"/>
                </a:lnTo>
                <a:lnTo>
                  <a:pt x="1709" y="276"/>
                </a:lnTo>
                <a:lnTo>
                  <a:pt x="1700" y="288"/>
                </a:lnTo>
                <a:lnTo>
                  <a:pt x="1677" y="265"/>
                </a:lnTo>
                <a:lnTo>
                  <a:pt x="1685" y="254"/>
                </a:lnTo>
                <a:lnTo>
                  <a:pt x="1691" y="243"/>
                </a:lnTo>
                <a:lnTo>
                  <a:pt x="1697" y="233"/>
                </a:lnTo>
                <a:lnTo>
                  <a:pt x="1702" y="222"/>
                </a:lnTo>
                <a:lnTo>
                  <a:pt x="1705" y="210"/>
                </a:lnTo>
                <a:lnTo>
                  <a:pt x="1708" y="197"/>
                </a:lnTo>
                <a:lnTo>
                  <a:pt x="1709" y="185"/>
                </a:lnTo>
                <a:lnTo>
                  <a:pt x="1711" y="173"/>
                </a:lnTo>
                <a:lnTo>
                  <a:pt x="1709" y="159"/>
                </a:lnTo>
                <a:lnTo>
                  <a:pt x="1708" y="145"/>
                </a:lnTo>
                <a:lnTo>
                  <a:pt x="1703" y="132"/>
                </a:lnTo>
                <a:lnTo>
                  <a:pt x="1698" y="118"/>
                </a:lnTo>
                <a:lnTo>
                  <a:pt x="1692" y="106"/>
                </a:lnTo>
                <a:lnTo>
                  <a:pt x="1686" y="93"/>
                </a:lnTo>
                <a:lnTo>
                  <a:pt x="1677" y="83"/>
                </a:lnTo>
                <a:lnTo>
                  <a:pt x="1668" y="72"/>
                </a:lnTo>
                <a:lnTo>
                  <a:pt x="1658" y="63"/>
                </a:lnTo>
                <a:lnTo>
                  <a:pt x="1646" y="55"/>
                </a:lnTo>
                <a:lnTo>
                  <a:pt x="1635" y="47"/>
                </a:lnTo>
                <a:lnTo>
                  <a:pt x="1623" y="41"/>
                </a:lnTo>
                <a:lnTo>
                  <a:pt x="1609" y="37"/>
                </a:lnTo>
                <a:lnTo>
                  <a:pt x="1595" y="34"/>
                </a:lnTo>
                <a:lnTo>
                  <a:pt x="1582" y="31"/>
                </a:lnTo>
                <a:lnTo>
                  <a:pt x="1568" y="31"/>
                </a:lnTo>
                <a:lnTo>
                  <a:pt x="1552" y="31"/>
                </a:lnTo>
                <a:lnTo>
                  <a:pt x="1539" y="34"/>
                </a:lnTo>
                <a:lnTo>
                  <a:pt x="1525" y="37"/>
                </a:lnTo>
                <a:lnTo>
                  <a:pt x="1511" y="41"/>
                </a:lnTo>
                <a:lnTo>
                  <a:pt x="1499" y="47"/>
                </a:lnTo>
                <a:lnTo>
                  <a:pt x="1488" y="55"/>
                </a:lnTo>
                <a:lnTo>
                  <a:pt x="1477" y="63"/>
                </a:lnTo>
                <a:lnTo>
                  <a:pt x="1466" y="72"/>
                </a:lnTo>
                <a:lnTo>
                  <a:pt x="1457" y="83"/>
                </a:lnTo>
                <a:lnTo>
                  <a:pt x="1449" y="93"/>
                </a:lnTo>
                <a:lnTo>
                  <a:pt x="1442" y="106"/>
                </a:lnTo>
                <a:lnTo>
                  <a:pt x="1436" y="118"/>
                </a:lnTo>
                <a:lnTo>
                  <a:pt x="1431" y="132"/>
                </a:lnTo>
                <a:lnTo>
                  <a:pt x="1426" y="145"/>
                </a:lnTo>
                <a:lnTo>
                  <a:pt x="1425" y="159"/>
                </a:lnTo>
                <a:lnTo>
                  <a:pt x="1425" y="173"/>
                </a:lnTo>
                <a:lnTo>
                  <a:pt x="1425" y="185"/>
                </a:lnTo>
                <a:lnTo>
                  <a:pt x="1426" y="197"/>
                </a:lnTo>
                <a:lnTo>
                  <a:pt x="1429" y="210"/>
                </a:lnTo>
                <a:lnTo>
                  <a:pt x="1433" y="222"/>
                </a:lnTo>
                <a:lnTo>
                  <a:pt x="1437" y="233"/>
                </a:lnTo>
                <a:lnTo>
                  <a:pt x="1443" y="243"/>
                </a:lnTo>
                <a:lnTo>
                  <a:pt x="1449" y="254"/>
                </a:lnTo>
                <a:lnTo>
                  <a:pt x="1457" y="265"/>
                </a:lnTo>
                <a:lnTo>
                  <a:pt x="1434" y="288"/>
                </a:lnTo>
                <a:lnTo>
                  <a:pt x="1425" y="276"/>
                </a:lnTo>
                <a:lnTo>
                  <a:pt x="1416" y="262"/>
                </a:lnTo>
                <a:lnTo>
                  <a:pt x="1409" y="250"/>
                </a:lnTo>
                <a:lnTo>
                  <a:pt x="1403" y="234"/>
                </a:lnTo>
                <a:lnTo>
                  <a:pt x="1397" y="220"/>
                </a:lnTo>
                <a:lnTo>
                  <a:pt x="1394" y="205"/>
                </a:lnTo>
                <a:lnTo>
                  <a:pt x="1393" y="190"/>
                </a:lnTo>
                <a:lnTo>
                  <a:pt x="1391" y="173"/>
                </a:lnTo>
                <a:close/>
                <a:moveTo>
                  <a:pt x="1240" y="228"/>
                </a:moveTo>
                <a:lnTo>
                  <a:pt x="1240" y="119"/>
                </a:lnTo>
                <a:lnTo>
                  <a:pt x="1270" y="119"/>
                </a:lnTo>
                <a:lnTo>
                  <a:pt x="1270" y="204"/>
                </a:lnTo>
                <a:lnTo>
                  <a:pt x="1319" y="204"/>
                </a:lnTo>
                <a:lnTo>
                  <a:pt x="1319" y="228"/>
                </a:lnTo>
                <a:lnTo>
                  <a:pt x="1240" y="228"/>
                </a:lnTo>
                <a:close/>
                <a:moveTo>
                  <a:pt x="1139" y="228"/>
                </a:moveTo>
                <a:lnTo>
                  <a:pt x="1219" y="228"/>
                </a:lnTo>
                <a:lnTo>
                  <a:pt x="1219" y="204"/>
                </a:lnTo>
                <a:lnTo>
                  <a:pt x="1167" y="204"/>
                </a:lnTo>
                <a:lnTo>
                  <a:pt x="1167" y="185"/>
                </a:lnTo>
                <a:lnTo>
                  <a:pt x="1210" y="185"/>
                </a:lnTo>
                <a:lnTo>
                  <a:pt x="1210" y="162"/>
                </a:lnTo>
                <a:lnTo>
                  <a:pt x="1167" y="162"/>
                </a:lnTo>
                <a:lnTo>
                  <a:pt x="1167" y="144"/>
                </a:lnTo>
                <a:lnTo>
                  <a:pt x="1217" y="144"/>
                </a:lnTo>
                <a:lnTo>
                  <a:pt x="1217" y="119"/>
                </a:lnTo>
                <a:lnTo>
                  <a:pt x="1139" y="119"/>
                </a:lnTo>
                <a:lnTo>
                  <a:pt x="1139" y="228"/>
                </a:lnTo>
                <a:close/>
                <a:moveTo>
                  <a:pt x="1014" y="175"/>
                </a:moveTo>
                <a:lnTo>
                  <a:pt x="1014" y="175"/>
                </a:lnTo>
                <a:lnTo>
                  <a:pt x="1016" y="162"/>
                </a:lnTo>
                <a:lnTo>
                  <a:pt x="1019" y="152"/>
                </a:lnTo>
                <a:lnTo>
                  <a:pt x="1024" y="141"/>
                </a:lnTo>
                <a:lnTo>
                  <a:pt x="1030" y="133"/>
                </a:lnTo>
                <a:lnTo>
                  <a:pt x="1038" y="126"/>
                </a:lnTo>
                <a:lnTo>
                  <a:pt x="1047" y="121"/>
                </a:lnTo>
                <a:lnTo>
                  <a:pt x="1056" y="118"/>
                </a:lnTo>
                <a:lnTo>
                  <a:pt x="1068" y="116"/>
                </a:lnTo>
                <a:lnTo>
                  <a:pt x="1077" y="118"/>
                </a:lnTo>
                <a:lnTo>
                  <a:pt x="1085" y="119"/>
                </a:lnTo>
                <a:lnTo>
                  <a:pt x="1093" y="122"/>
                </a:lnTo>
                <a:lnTo>
                  <a:pt x="1099" y="126"/>
                </a:lnTo>
                <a:lnTo>
                  <a:pt x="1105" y="132"/>
                </a:lnTo>
                <a:lnTo>
                  <a:pt x="1110" y="138"/>
                </a:lnTo>
                <a:lnTo>
                  <a:pt x="1114" y="145"/>
                </a:lnTo>
                <a:lnTo>
                  <a:pt x="1116" y="155"/>
                </a:lnTo>
                <a:lnTo>
                  <a:pt x="1087" y="155"/>
                </a:lnTo>
                <a:lnTo>
                  <a:pt x="1084" y="147"/>
                </a:lnTo>
                <a:lnTo>
                  <a:pt x="1081" y="144"/>
                </a:lnTo>
                <a:lnTo>
                  <a:pt x="1074" y="141"/>
                </a:lnTo>
                <a:lnTo>
                  <a:pt x="1068" y="141"/>
                </a:lnTo>
                <a:lnTo>
                  <a:pt x="1064" y="141"/>
                </a:lnTo>
                <a:lnTo>
                  <a:pt x="1057" y="144"/>
                </a:lnTo>
                <a:lnTo>
                  <a:pt x="1054" y="147"/>
                </a:lnTo>
                <a:lnTo>
                  <a:pt x="1050" y="150"/>
                </a:lnTo>
                <a:lnTo>
                  <a:pt x="1048" y="155"/>
                </a:lnTo>
                <a:lnTo>
                  <a:pt x="1045" y="161"/>
                </a:lnTo>
                <a:lnTo>
                  <a:pt x="1044" y="175"/>
                </a:lnTo>
                <a:lnTo>
                  <a:pt x="1045" y="188"/>
                </a:lnTo>
                <a:lnTo>
                  <a:pt x="1048" y="193"/>
                </a:lnTo>
                <a:lnTo>
                  <a:pt x="1051" y="199"/>
                </a:lnTo>
                <a:lnTo>
                  <a:pt x="1054" y="202"/>
                </a:lnTo>
                <a:lnTo>
                  <a:pt x="1059" y="205"/>
                </a:lnTo>
                <a:lnTo>
                  <a:pt x="1064" y="208"/>
                </a:lnTo>
                <a:lnTo>
                  <a:pt x="1070" y="208"/>
                </a:lnTo>
                <a:lnTo>
                  <a:pt x="1081" y="207"/>
                </a:lnTo>
                <a:lnTo>
                  <a:pt x="1088" y="204"/>
                </a:lnTo>
                <a:lnTo>
                  <a:pt x="1088" y="188"/>
                </a:lnTo>
                <a:lnTo>
                  <a:pt x="1070" y="188"/>
                </a:lnTo>
                <a:lnTo>
                  <a:pt x="1070" y="168"/>
                </a:lnTo>
                <a:lnTo>
                  <a:pt x="1116" y="168"/>
                </a:lnTo>
                <a:lnTo>
                  <a:pt x="1116" y="216"/>
                </a:lnTo>
                <a:lnTo>
                  <a:pt x="1105" y="223"/>
                </a:lnTo>
                <a:lnTo>
                  <a:pt x="1094" y="228"/>
                </a:lnTo>
                <a:lnTo>
                  <a:pt x="1082" y="231"/>
                </a:lnTo>
                <a:lnTo>
                  <a:pt x="1073" y="233"/>
                </a:lnTo>
                <a:lnTo>
                  <a:pt x="1059" y="231"/>
                </a:lnTo>
                <a:lnTo>
                  <a:pt x="1048" y="228"/>
                </a:lnTo>
                <a:lnTo>
                  <a:pt x="1038" y="223"/>
                </a:lnTo>
                <a:lnTo>
                  <a:pt x="1030" y="217"/>
                </a:lnTo>
                <a:lnTo>
                  <a:pt x="1024" y="208"/>
                </a:lnTo>
                <a:lnTo>
                  <a:pt x="1019" y="199"/>
                </a:lnTo>
                <a:lnTo>
                  <a:pt x="1016" y="187"/>
                </a:lnTo>
                <a:lnTo>
                  <a:pt x="1014" y="175"/>
                </a:lnTo>
                <a:close/>
                <a:moveTo>
                  <a:pt x="939" y="190"/>
                </a:moveTo>
                <a:lnTo>
                  <a:pt x="953" y="148"/>
                </a:lnTo>
                <a:lnTo>
                  <a:pt x="967" y="190"/>
                </a:lnTo>
                <a:lnTo>
                  <a:pt x="939" y="190"/>
                </a:lnTo>
                <a:close/>
                <a:moveTo>
                  <a:pt x="896" y="228"/>
                </a:moveTo>
                <a:lnTo>
                  <a:pt x="927" y="228"/>
                </a:lnTo>
                <a:lnTo>
                  <a:pt x="931" y="211"/>
                </a:lnTo>
                <a:lnTo>
                  <a:pt x="974" y="211"/>
                </a:lnTo>
                <a:lnTo>
                  <a:pt x="981" y="228"/>
                </a:lnTo>
                <a:lnTo>
                  <a:pt x="1010" y="228"/>
                </a:lnTo>
                <a:lnTo>
                  <a:pt x="968" y="119"/>
                </a:lnTo>
                <a:lnTo>
                  <a:pt x="938" y="119"/>
                </a:lnTo>
                <a:lnTo>
                  <a:pt x="896" y="228"/>
                </a:lnTo>
                <a:close/>
                <a:moveTo>
                  <a:pt x="789" y="228"/>
                </a:moveTo>
                <a:lnTo>
                  <a:pt x="815" y="228"/>
                </a:lnTo>
                <a:lnTo>
                  <a:pt x="815" y="164"/>
                </a:lnTo>
                <a:lnTo>
                  <a:pt x="853" y="228"/>
                </a:lnTo>
                <a:lnTo>
                  <a:pt x="884" y="228"/>
                </a:lnTo>
                <a:lnTo>
                  <a:pt x="884" y="119"/>
                </a:lnTo>
                <a:lnTo>
                  <a:pt x="856" y="119"/>
                </a:lnTo>
                <a:lnTo>
                  <a:pt x="856" y="184"/>
                </a:lnTo>
                <a:lnTo>
                  <a:pt x="818" y="119"/>
                </a:lnTo>
                <a:lnTo>
                  <a:pt x="789" y="119"/>
                </a:lnTo>
                <a:lnTo>
                  <a:pt x="789" y="228"/>
                </a:lnTo>
                <a:close/>
                <a:moveTo>
                  <a:pt x="666" y="185"/>
                </a:moveTo>
                <a:lnTo>
                  <a:pt x="666" y="171"/>
                </a:lnTo>
                <a:lnTo>
                  <a:pt x="709" y="171"/>
                </a:lnTo>
                <a:lnTo>
                  <a:pt x="709" y="127"/>
                </a:lnTo>
                <a:lnTo>
                  <a:pt x="725" y="127"/>
                </a:lnTo>
                <a:lnTo>
                  <a:pt x="725" y="171"/>
                </a:lnTo>
                <a:lnTo>
                  <a:pt x="769" y="171"/>
                </a:lnTo>
                <a:lnTo>
                  <a:pt x="769" y="185"/>
                </a:lnTo>
                <a:lnTo>
                  <a:pt x="725" y="185"/>
                </a:lnTo>
                <a:lnTo>
                  <a:pt x="725" y="228"/>
                </a:lnTo>
                <a:lnTo>
                  <a:pt x="709" y="228"/>
                </a:lnTo>
                <a:lnTo>
                  <a:pt x="709" y="185"/>
                </a:lnTo>
                <a:lnTo>
                  <a:pt x="666" y="185"/>
                </a:lnTo>
                <a:close/>
                <a:moveTo>
                  <a:pt x="572" y="228"/>
                </a:moveTo>
                <a:lnTo>
                  <a:pt x="653" y="228"/>
                </a:lnTo>
                <a:lnTo>
                  <a:pt x="653" y="204"/>
                </a:lnTo>
                <a:lnTo>
                  <a:pt x="599" y="204"/>
                </a:lnTo>
                <a:lnTo>
                  <a:pt x="599" y="185"/>
                </a:lnTo>
                <a:lnTo>
                  <a:pt x="644" y="185"/>
                </a:lnTo>
                <a:lnTo>
                  <a:pt x="644" y="162"/>
                </a:lnTo>
                <a:lnTo>
                  <a:pt x="599" y="162"/>
                </a:lnTo>
                <a:lnTo>
                  <a:pt x="599" y="144"/>
                </a:lnTo>
                <a:lnTo>
                  <a:pt x="650" y="144"/>
                </a:lnTo>
                <a:lnTo>
                  <a:pt x="650" y="119"/>
                </a:lnTo>
                <a:lnTo>
                  <a:pt x="572" y="119"/>
                </a:lnTo>
                <a:lnTo>
                  <a:pt x="572" y="228"/>
                </a:lnTo>
                <a:close/>
                <a:moveTo>
                  <a:pt x="450" y="228"/>
                </a:moveTo>
                <a:lnTo>
                  <a:pt x="478" y="228"/>
                </a:lnTo>
                <a:lnTo>
                  <a:pt x="478" y="164"/>
                </a:lnTo>
                <a:lnTo>
                  <a:pt x="516" y="228"/>
                </a:lnTo>
                <a:lnTo>
                  <a:pt x="546" y="228"/>
                </a:lnTo>
                <a:lnTo>
                  <a:pt x="546" y="119"/>
                </a:lnTo>
                <a:lnTo>
                  <a:pt x="520" y="119"/>
                </a:lnTo>
                <a:lnTo>
                  <a:pt x="520" y="184"/>
                </a:lnTo>
                <a:lnTo>
                  <a:pt x="480" y="119"/>
                </a:lnTo>
                <a:lnTo>
                  <a:pt x="450" y="119"/>
                </a:lnTo>
                <a:lnTo>
                  <a:pt x="450" y="228"/>
                </a:lnTo>
                <a:close/>
                <a:moveTo>
                  <a:pt x="329" y="228"/>
                </a:moveTo>
                <a:lnTo>
                  <a:pt x="358" y="228"/>
                </a:lnTo>
                <a:lnTo>
                  <a:pt x="358" y="187"/>
                </a:lnTo>
                <a:lnTo>
                  <a:pt x="397" y="187"/>
                </a:lnTo>
                <a:lnTo>
                  <a:pt x="397" y="228"/>
                </a:lnTo>
                <a:lnTo>
                  <a:pt x="426" y="228"/>
                </a:lnTo>
                <a:lnTo>
                  <a:pt x="426" y="119"/>
                </a:lnTo>
                <a:lnTo>
                  <a:pt x="397" y="119"/>
                </a:lnTo>
                <a:lnTo>
                  <a:pt x="397" y="161"/>
                </a:lnTo>
                <a:lnTo>
                  <a:pt x="358" y="161"/>
                </a:lnTo>
                <a:lnTo>
                  <a:pt x="358" y="119"/>
                </a:lnTo>
                <a:lnTo>
                  <a:pt x="329" y="119"/>
                </a:lnTo>
                <a:lnTo>
                  <a:pt x="329" y="228"/>
                </a:lnTo>
                <a:close/>
                <a:moveTo>
                  <a:pt x="226" y="228"/>
                </a:moveTo>
                <a:lnTo>
                  <a:pt x="307" y="228"/>
                </a:lnTo>
                <a:lnTo>
                  <a:pt x="307" y="204"/>
                </a:lnTo>
                <a:lnTo>
                  <a:pt x="254" y="204"/>
                </a:lnTo>
                <a:lnTo>
                  <a:pt x="254" y="185"/>
                </a:lnTo>
                <a:lnTo>
                  <a:pt x="298" y="185"/>
                </a:lnTo>
                <a:lnTo>
                  <a:pt x="298" y="162"/>
                </a:lnTo>
                <a:lnTo>
                  <a:pt x="254" y="162"/>
                </a:lnTo>
                <a:lnTo>
                  <a:pt x="254" y="144"/>
                </a:lnTo>
                <a:lnTo>
                  <a:pt x="304" y="144"/>
                </a:lnTo>
                <a:lnTo>
                  <a:pt x="304" y="119"/>
                </a:lnTo>
                <a:lnTo>
                  <a:pt x="226" y="119"/>
                </a:lnTo>
                <a:lnTo>
                  <a:pt x="226" y="228"/>
                </a:lnTo>
                <a:close/>
                <a:moveTo>
                  <a:pt x="108" y="184"/>
                </a:moveTo>
                <a:lnTo>
                  <a:pt x="108" y="184"/>
                </a:lnTo>
                <a:lnTo>
                  <a:pt x="108" y="196"/>
                </a:lnTo>
                <a:lnTo>
                  <a:pt x="111" y="207"/>
                </a:lnTo>
                <a:lnTo>
                  <a:pt x="115" y="214"/>
                </a:lnTo>
                <a:lnTo>
                  <a:pt x="121" y="220"/>
                </a:lnTo>
                <a:lnTo>
                  <a:pt x="129" y="227"/>
                </a:lnTo>
                <a:lnTo>
                  <a:pt x="137" y="230"/>
                </a:lnTo>
                <a:lnTo>
                  <a:pt x="144" y="231"/>
                </a:lnTo>
                <a:lnTo>
                  <a:pt x="155" y="233"/>
                </a:lnTo>
                <a:lnTo>
                  <a:pt x="164" y="231"/>
                </a:lnTo>
                <a:lnTo>
                  <a:pt x="172" y="230"/>
                </a:lnTo>
                <a:lnTo>
                  <a:pt x="181" y="227"/>
                </a:lnTo>
                <a:lnTo>
                  <a:pt x="188" y="220"/>
                </a:lnTo>
                <a:lnTo>
                  <a:pt x="194" y="214"/>
                </a:lnTo>
                <a:lnTo>
                  <a:pt x="198" y="207"/>
                </a:lnTo>
                <a:lnTo>
                  <a:pt x="201" y="196"/>
                </a:lnTo>
                <a:lnTo>
                  <a:pt x="201" y="184"/>
                </a:lnTo>
                <a:lnTo>
                  <a:pt x="201" y="119"/>
                </a:lnTo>
                <a:lnTo>
                  <a:pt x="172" y="119"/>
                </a:lnTo>
                <a:lnTo>
                  <a:pt x="172" y="188"/>
                </a:lnTo>
                <a:lnTo>
                  <a:pt x="171" y="196"/>
                </a:lnTo>
                <a:lnTo>
                  <a:pt x="168" y="202"/>
                </a:lnTo>
                <a:lnTo>
                  <a:pt x="163" y="207"/>
                </a:lnTo>
                <a:lnTo>
                  <a:pt x="155" y="207"/>
                </a:lnTo>
                <a:lnTo>
                  <a:pt x="146" y="207"/>
                </a:lnTo>
                <a:lnTo>
                  <a:pt x="141" y="202"/>
                </a:lnTo>
                <a:lnTo>
                  <a:pt x="137" y="196"/>
                </a:lnTo>
                <a:lnTo>
                  <a:pt x="137" y="188"/>
                </a:lnTo>
                <a:lnTo>
                  <a:pt x="137" y="119"/>
                </a:lnTo>
                <a:lnTo>
                  <a:pt x="108" y="119"/>
                </a:lnTo>
                <a:lnTo>
                  <a:pt x="108" y="184"/>
                </a:lnTo>
                <a:close/>
                <a:moveTo>
                  <a:pt x="0" y="228"/>
                </a:moveTo>
                <a:lnTo>
                  <a:pt x="29" y="228"/>
                </a:lnTo>
                <a:lnTo>
                  <a:pt x="29" y="197"/>
                </a:lnTo>
                <a:lnTo>
                  <a:pt x="38" y="185"/>
                </a:lnTo>
                <a:lnTo>
                  <a:pt x="63" y="228"/>
                </a:lnTo>
                <a:lnTo>
                  <a:pt x="97" y="228"/>
                </a:lnTo>
                <a:lnTo>
                  <a:pt x="58" y="164"/>
                </a:lnTo>
                <a:lnTo>
                  <a:pt x="92" y="119"/>
                </a:lnTo>
                <a:lnTo>
                  <a:pt x="58" y="119"/>
                </a:lnTo>
                <a:lnTo>
                  <a:pt x="29" y="159"/>
                </a:lnTo>
                <a:lnTo>
                  <a:pt x="29" y="119"/>
                </a:lnTo>
                <a:lnTo>
                  <a:pt x="0" y="119"/>
                </a:lnTo>
                <a:lnTo>
                  <a:pt x="0" y="228"/>
                </a:lnTo>
                <a:close/>
              </a:path>
            </a:pathLst>
          </a:custGeom>
          <a:solidFill>
            <a:srgbClr val="00336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Picture Placeholder 3"/>
          <p:cNvSpPr>
            <a:spLocks noGrp="1"/>
          </p:cNvSpPr>
          <p:nvPr>
            <p:ph type="pic" sz="quarter" idx="13"/>
          </p:nvPr>
        </p:nvSpPr>
        <p:spPr>
          <a:xfrm>
            <a:off x="0" y="1609934"/>
            <a:ext cx="12192000" cy="5248066"/>
          </a:xfrm>
          <a:prstGeom prst="rect">
            <a:avLst/>
          </a:prstGeom>
          <a:solidFill>
            <a:schemeClr val="bg2"/>
          </a:solidFill>
          <a:ln>
            <a:noFill/>
          </a:ln>
        </p:spPr>
        <p:txBody>
          <a:bodyPr rIns="3240000" rtlCol="0" anchor="ctr">
            <a:normAutofit/>
          </a:bodyPr>
          <a:lstStyle>
            <a:lvl1pPr marL="0" indent="0" algn="r">
              <a:buNone/>
              <a:defRPr>
                <a:solidFill>
                  <a:srgbClr val="000000"/>
                </a:solidFill>
              </a:defRPr>
            </a:lvl1pPr>
          </a:lstStyle>
          <a:p>
            <a:pPr lvl="0"/>
            <a:r>
              <a:rPr lang="en-US" noProof="0"/>
              <a:t>Click icon to add picture</a:t>
            </a:r>
            <a:endParaRPr lang="en-US" noProof="0" dirty="0"/>
          </a:p>
        </p:txBody>
      </p:sp>
      <p:sp>
        <p:nvSpPr>
          <p:cNvPr id="16" name="Text Placeholder 5"/>
          <p:cNvSpPr>
            <a:spLocks noGrp="1"/>
          </p:cNvSpPr>
          <p:nvPr>
            <p:ph type="body" sz="quarter" idx="14"/>
          </p:nvPr>
        </p:nvSpPr>
        <p:spPr>
          <a:xfrm>
            <a:off x="550864" y="3213715"/>
            <a:ext cx="5545136" cy="3096597"/>
          </a:xfrm>
          <a:prstGeom prst="rect">
            <a:avLst/>
          </a:prstGeom>
        </p:spPr>
        <p:txBody>
          <a:bodyPr>
            <a:noAutofit/>
          </a:bodyPr>
          <a:lstStyle>
            <a:lvl1pPr marL="0" indent="0">
              <a:lnSpc>
                <a:spcPct val="100000"/>
              </a:lnSpc>
              <a:spcBef>
                <a:spcPts val="0"/>
              </a:spcBef>
              <a:spcAft>
                <a:spcPts val="1200"/>
              </a:spcAft>
              <a:buNone/>
              <a:defRPr sz="2400" b="0" baseline="0">
                <a:solidFill>
                  <a:srgbClr val="000000"/>
                </a:solidFill>
              </a:defRPr>
            </a:lvl1pPr>
          </a:lstStyle>
          <a:p>
            <a:pPr lvl="0"/>
            <a:r>
              <a:rPr lang="en-US" noProof="0"/>
              <a:t>Click to edit Master text styles</a:t>
            </a:r>
          </a:p>
        </p:txBody>
      </p:sp>
      <p:sp>
        <p:nvSpPr>
          <p:cNvPr id="2" name="Titel 1"/>
          <p:cNvSpPr>
            <a:spLocks noGrp="1"/>
          </p:cNvSpPr>
          <p:nvPr>
            <p:ph type="title"/>
          </p:nvPr>
        </p:nvSpPr>
        <p:spPr>
          <a:xfrm>
            <a:off x="550864" y="1991893"/>
            <a:ext cx="5545136" cy="1065940"/>
          </a:xfrm>
        </p:spPr>
        <p:txBody>
          <a:bodyPr/>
          <a:lstStyle>
            <a:lvl1pPr>
              <a:defRPr lang="en-GB" sz="3600" b="1" kern="1200" baseline="0" noProof="0" dirty="0">
                <a:solidFill>
                  <a:srgbClr val="000000"/>
                </a:solidFill>
                <a:latin typeface="+mn-lt"/>
                <a:ea typeface="+mn-ea"/>
                <a:cs typeface="+mn-cs"/>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2144108167"/>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right_image_light">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6096000" y="0"/>
            <a:ext cx="6096000" cy="6858000"/>
          </a:xfrm>
          <a:prstGeom prst="rect">
            <a:avLst/>
          </a:prstGeom>
          <a:solidFill>
            <a:schemeClr val="bg2"/>
          </a:solidFill>
          <a:ln>
            <a:noFill/>
          </a:ln>
        </p:spPr>
        <p:txBody>
          <a:bodyPr tIns="2628000" rtlCol="0">
            <a:normAutofit/>
          </a:bodyPr>
          <a:lstStyle>
            <a:lvl1pPr marL="0" indent="0" algn="ctr">
              <a:buNone/>
              <a:defRPr>
                <a:solidFill>
                  <a:srgbClr val="000000"/>
                </a:solidFill>
              </a:defRPr>
            </a:lvl1pPr>
          </a:lstStyle>
          <a:p>
            <a:pPr lvl="0"/>
            <a:r>
              <a:rPr lang="en-US" noProof="0"/>
              <a:t>Click icon to add picture</a:t>
            </a:r>
            <a:endParaRPr lang="en-US" noProof="0" dirty="0"/>
          </a:p>
        </p:txBody>
      </p:sp>
      <p:sp>
        <p:nvSpPr>
          <p:cNvPr id="6"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10" name="Titel 4"/>
          <p:cNvSpPr>
            <a:spLocks noGrp="1"/>
          </p:cNvSpPr>
          <p:nvPr>
            <p:ph type="title"/>
          </p:nvPr>
        </p:nvSpPr>
        <p:spPr>
          <a:xfrm>
            <a:off x="553320" y="550779"/>
            <a:ext cx="4986000" cy="864136"/>
          </a:xfrm>
        </p:spPr>
        <p:txBody>
          <a:bodyPr/>
          <a:lstStyle/>
          <a:p>
            <a:pPr lvl="0"/>
            <a:r>
              <a:rPr lang="en-US" noProof="0"/>
              <a:t>Click to edit Master title style</a:t>
            </a:r>
            <a:endParaRPr lang="de-DE" dirty="0"/>
          </a:p>
        </p:txBody>
      </p:sp>
      <p:sp>
        <p:nvSpPr>
          <p:cNvPr id="2" name="Slide Number Placeholder 3">
            <a:extLst>
              <a:ext uri="{FF2B5EF4-FFF2-40B4-BE49-F238E27FC236}">
                <a16:creationId xmlns:a16="http://schemas.microsoft.com/office/drawing/2014/main" id="{009D27BB-9297-0C03-6F4F-79B87D599AB2}"/>
              </a:ext>
            </a:extLst>
          </p:cNvPr>
          <p:cNvSpPr>
            <a:spLocks noGrp="1"/>
          </p:cNvSpPr>
          <p:nvPr>
            <p:ph type="sldNum" sz="quarter" idx="17"/>
          </p:nvPr>
        </p:nvSpPr>
        <p:spPr/>
        <p:txBody>
          <a:bodyPr/>
          <a:lstStyle>
            <a:lvl1pPr algn="r">
              <a:defRPr sz="1000">
                <a:solidFill>
                  <a:srgbClr val="000000"/>
                </a:solidFill>
              </a:defRPr>
            </a:lvl1pPr>
          </a:lstStyle>
          <a:p>
            <a:pPr>
              <a:defRPr/>
            </a:pPr>
            <a:fld id="{51D29B77-56F2-4F8E-B3B3-A98675C2A621}" type="slidenum">
              <a:rPr lang="en-GB"/>
              <a:pPr>
                <a:defRPr/>
              </a:pPr>
              <a:t>‹#›</a:t>
            </a:fld>
            <a:endParaRPr lang="en-GB" dirty="0"/>
          </a:p>
        </p:txBody>
      </p:sp>
    </p:spTree>
    <p:extLst>
      <p:ext uri="{BB962C8B-B14F-4D97-AF65-F5344CB8AC3E}">
        <p14:creationId xmlns:p14="http://schemas.microsoft.com/office/powerpoint/2010/main" val="2370244845"/>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ext+right_image_dark">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6096000" y="0"/>
            <a:ext cx="6096000" cy="6858000"/>
          </a:xfrm>
          <a:prstGeom prst="rect">
            <a:avLst/>
          </a:prstGeom>
          <a:solidFill>
            <a:schemeClr val="accent6"/>
          </a:solidFill>
          <a:ln>
            <a:noFill/>
          </a:ln>
        </p:spPr>
        <p:txBody>
          <a:bodyPr tIns="2628000" rtlCol="0">
            <a:normAutofit/>
          </a:bodyPr>
          <a:lstStyle>
            <a:lvl1pPr marL="0" indent="0" algn="ctr">
              <a:buNone/>
              <a:defRPr>
                <a:solidFill>
                  <a:schemeClr val="bg1"/>
                </a:solidFill>
              </a:defRPr>
            </a:lvl1pPr>
          </a:lstStyle>
          <a:p>
            <a:pPr lvl="0"/>
            <a:r>
              <a:rPr lang="en-US" noProof="0"/>
              <a:t>Click icon to add picture</a:t>
            </a:r>
            <a:endParaRPr lang="en-US" noProof="0" dirty="0"/>
          </a:p>
        </p:txBody>
      </p:sp>
      <p:sp>
        <p:nvSpPr>
          <p:cNvPr id="6"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10" name="Titel 4"/>
          <p:cNvSpPr>
            <a:spLocks noGrp="1"/>
          </p:cNvSpPr>
          <p:nvPr>
            <p:ph type="title"/>
          </p:nvPr>
        </p:nvSpPr>
        <p:spPr>
          <a:xfrm>
            <a:off x="553320" y="550779"/>
            <a:ext cx="4986000" cy="864136"/>
          </a:xfrm>
        </p:spPr>
        <p:txBody>
          <a:bodyPr/>
          <a:lstStyle/>
          <a:p>
            <a:pPr lvl="0"/>
            <a:r>
              <a:rPr lang="en-US" noProof="0"/>
              <a:t>Click to edit Master title style</a:t>
            </a:r>
            <a:endParaRPr lang="de-DE" dirty="0"/>
          </a:p>
        </p:txBody>
      </p:sp>
      <p:sp>
        <p:nvSpPr>
          <p:cNvPr id="2" name="Slide Number Placeholder 3">
            <a:extLst>
              <a:ext uri="{FF2B5EF4-FFF2-40B4-BE49-F238E27FC236}">
                <a16:creationId xmlns:a16="http://schemas.microsoft.com/office/drawing/2014/main" id="{DA9CD470-F7FA-C376-3F44-2F784069E73E}"/>
              </a:ext>
            </a:extLst>
          </p:cNvPr>
          <p:cNvSpPr>
            <a:spLocks noGrp="1"/>
          </p:cNvSpPr>
          <p:nvPr>
            <p:ph type="sldNum" sz="quarter" idx="17"/>
          </p:nvPr>
        </p:nvSpPr>
        <p:spPr/>
        <p:txBody>
          <a:bodyPr/>
          <a:lstStyle>
            <a:lvl1pPr algn="r">
              <a:defRPr sz="1000">
                <a:solidFill>
                  <a:schemeClr val="bg1"/>
                </a:solidFill>
              </a:defRPr>
            </a:lvl1pPr>
          </a:lstStyle>
          <a:p>
            <a:pPr>
              <a:defRPr/>
            </a:pPr>
            <a:fld id="{FA907652-2C8F-42DF-9271-24934169803E}" type="slidenum">
              <a:rPr lang="en-GB"/>
              <a:pPr>
                <a:defRPr/>
              </a:pPr>
              <a:t>‹#›</a:t>
            </a:fld>
            <a:endParaRPr lang="en-GB" dirty="0"/>
          </a:p>
        </p:txBody>
      </p:sp>
    </p:spTree>
    <p:extLst>
      <p:ext uri="{BB962C8B-B14F-4D97-AF65-F5344CB8AC3E}">
        <p14:creationId xmlns:p14="http://schemas.microsoft.com/office/powerpoint/2010/main" val="4103077156"/>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Msg_BlueBG+right_half_image_l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EB38EB-A593-71D5-64BB-A41C36414140}"/>
              </a:ext>
            </a:extLst>
          </p:cNvPr>
          <p:cNvSpPr/>
          <p:nvPr/>
        </p:nvSpPr>
        <p:spPr>
          <a:xfrm>
            <a:off x="6350" y="0"/>
            <a:ext cx="6094413"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5" name="Picture Placeholder 3"/>
          <p:cNvSpPr>
            <a:spLocks noGrp="1"/>
          </p:cNvSpPr>
          <p:nvPr>
            <p:ph type="pic" sz="quarter" idx="10"/>
          </p:nvPr>
        </p:nvSpPr>
        <p:spPr>
          <a:xfrm>
            <a:off x="6094172" y="0"/>
            <a:ext cx="6094800" cy="6858000"/>
          </a:xfrm>
          <a:prstGeom prst="rect">
            <a:avLst/>
          </a:prstGeom>
          <a:solidFill>
            <a:schemeClr val="bg2"/>
          </a:solidFill>
        </p:spPr>
        <p:txBody>
          <a:bodyPr tIns="2628000" rtlCol="0">
            <a:normAutofit/>
          </a:bodyPr>
          <a:lstStyle>
            <a:lvl1pPr marL="0" indent="0" algn="ctr">
              <a:buNone/>
              <a:defRPr>
                <a:solidFill>
                  <a:srgbClr val="000000"/>
                </a:solidFill>
              </a:defRPr>
            </a:lvl1pPr>
          </a:lstStyle>
          <a:p>
            <a:pPr lvl="0"/>
            <a:r>
              <a:rPr lang="en-US" noProof="0"/>
              <a:t>Click icon to add picture</a:t>
            </a:r>
            <a:endParaRPr lang="en-US" noProof="0" dirty="0"/>
          </a:p>
        </p:txBody>
      </p:sp>
      <p:sp>
        <p:nvSpPr>
          <p:cNvPr id="9"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3" name="Slide Number Placeholder 3">
            <a:extLst>
              <a:ext uri="{FF2B5EF4-FFF2-40B4-BE49-F238E27FC236}">
                <a16:creationId xmlns:a16="http://schemas.microsoft.com/office/drawing/2014/main" id="{53BEBC04-8BCE-3F5C-2ADC-71F1CFDC851D}"/>
              </a:ext>
            </a:extLst>
          </p:cNvPr>
          <p:cNvSpPr>
            <a:spLocks noGrp="1"/>
          </p:cNvSpPr>
          <p:nvPr>
            <p:ph type="sldNum" sz="quarter" idx="17"/>
          </p:nvPr>
        </p:nvSpPr>
        <p:spPr/>
        <p:txBody>
          <a:bodyPr/>
          <a:lstStyle>
            <a:lvl1pPr algn="r">
              <a:defRPr sz="1000">
                <a:solidFill>
                  <a:srgbClr val="000000"/>
                </a:solidFill>
              </a:defRPr>
            </a:lvl1pPr>
          </a:lstStyle>
          <a:p>
            <a:pPr>
              <a:defRPr/>
            </a:pPr>
            <a:fld id="{FCCA6F6D-CAF8-4A70-B673-6491EAC4F195}" type="slidenum">
              <a:rPr lang="en-GB"/>
              <a:pPr>
                <a:defRPr/>
              </a:pPr>
              <a:t>‹#›</a:t>
            </a:fld>
            <a:endParaRPr lang="en-GB" dirty="0"/>
          </a:p>
        </p:txBody>
      </p:sp>
    </p:spTree>
    <p:extLst>
      <p:ext uri="{BB962C8B-B14F-4D97-AF65-F5344CB8AC3E}">
        <p14:creationId xmlns:p14="http://schemas.microsoft.com/office/powerpoint/2010/main" val="1976443307"/>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Msg_BlueBG+right_half_image_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854DA7-C7A9-AB5B-3FD0-DC26DBE05863}"/>
              </a:ext>
            </a:extLst>
          </p:cNvPr>
          <p:cNvSpPr/>
          <p:nvPr/>
        </p:nvSpPr>
        <p:spPr>
          <a:xfrm>
            <a:off x="6350" y="0"/>
            <a:ext cx="6094413"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5" name="Picture Placeholder 3"/>
          <p:cNvSpPr>
            <a:spLocks noGrp="1"/>
          </p:cNvSpPr>
          <p:nvPr>
            <p:ph type="pic" sz="quarter" idx="10"/>
          </p:nvPr>
        </p:nvSpPr>
        <p:spPr>
          <a:xfrm>
            <a:off x="6094172" y="0"/>
            <a:ext cx="6094800" cy="6858000"/>
          </a:xfrm>
          <a:prstGeom prst="rect">
            <a:avLst/>
          </a:prstGeom>
          <a:solidFill>
            <a:schemeClr val="accent6"/>
          </a:solidFill>
        </p:spPr>
        <p:txBody>
          <a:bodyPr tIns="2628000" rtlCol="0">
            <a:normAutofit/>
          </a:bodyPr>
          <a:lstStyle>
            <a:lvl1pPr marL="0" indent="0" algn="ctr">
              <a:buNone/>
              <a:defRPr>
                <a:solidFill>
                  <a:schemeClr val="bg1"/>
                </a:solidFill>
              </a:defRPr>
            </a:lvl1pPr>
          </a:lstStyle>
          <a:p>
            <a:pPr lvl="0"/>
            <a:r>
              <a:rPr lang="en-US" noProof="0"/>
              <a:t>Click icon to add picture</a:t>
            </a:r>
            <a:endParaRPr lang="en-US" noProof="0" dirty="0"/>
          </a:p>
        </p:txBody>
      </p:sp>
      <p:sp>
        <p:nvSpPr>
          <p:cNvPr id="8"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3" name="Slide Number Placeholder 3">
            <a:extLst>
              <a:ext uri="{FF2B5EF4-FFF2-40B4-BE49-F238E27FC236}">
                <a16:creationId xmlns:a16="http://schemas.microsoft.com/office/drawing/2014/main" id="{1D8E63BE-59E6-5251-39C6-244D8E70B11D}"/>
              </a:ext>
            </a:extLst>
          </p:cNvPr>
          <p:cNvSpPr>
            <a:spLocks noGrp="1"/>
          </p:cNvSpPr>
          <p:nvPr>
            <p:ph type="sldNum" sz="quarter" idx="17"/>
          </p:nvPr>
        </p:nvSpPr>
        <p:spPr/>
        <p:txBody>
          <a:bodyPr/>
          <a:lstStyle>
            <a:lvl1pPr algn="r">
              <a:defRPr sz="1000">
                <a:solidFill>
                  <a:schemeClr val="bg1"/>
                </a:solidFill>
              </a:defRPr>
            </a:lvl1pPr>
          </a:lstStyle>
          <a:p>
            <a:pPr>
              <a:defRPr/>
            </a:pPr>
            <a:fld id="{87EAE779-8A81-44FF-BDD8-CC661FB8847A}" type="slidenum">
              <a:rPr lang="en-GB"/>
              <a:pPr>
                <a:defRPr/>
              </a:pPr>
              <a:t>‹#›</a:t>
            </a:fld>
            <a:endParaRPr lang="en-GB" dirty="0"/>
          </a:p>
        </p:txBody>
      </p:sp>
    </p:spTree>
    <p:extLst>
      <p:ext uri="{BB962C8B-B14F-4D97-AF65-F5344CB8AC3E}">
        <p14:creationId xmlns:p14="http://schemas.microsoft.com/office/powerpoint/2010/main" val="212270208"/>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iography_slide_text+left_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7C689D-E265-1854-E950-EF6858D74DE3}"/>
              </a:ext>
            </a:extLst>
          </p:cNvPr>
          <p:cNvSpPr/>
          <p:nvPr/>
        </p:nvSpPr>
        <p:spPr>
          <a:xfrm>
            <a:off x="4681538" y="0"/>
            <a:ext cx="7502525"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5">
            <a:extLst>
              <a:ext uri="{FF2B5EF4-FFF2-40B4-BE49-F238E27FC236}">
                <a16:creationId xmlns:a16="http://schemas.microsoft.com/office/drawing/2014/main" id="{41EC0671-38C2-0ABB-28F2-31087235DBCC}"/>
              </a:ext>
            </a:extLst>
          </p:cNvPr>
          <p:cNvSpPr>
            <a:spLocks noEditPoints="1"/>
          </p:cNvSpPr>
          <p:nvPr/>
        </p:nvSpPr>
        <p:spPr bwMode="auto">
          <a:xfrm>
            <a:off x="9721850" y="558800"/>
            <a:ext cx="1908175" cy="379413"/>
          </a:xfrm>
          <a:custGeom>
            <a:avLst/>
            <a:gdLst>
              <a:gd name="T0" fmla="*/ 1714967 w 1196"/>
              <a:gd name="T1" fmla="*/ 111125 h 239"/>
              <a:gd name="T2" fmla="*/ 1729324 w 1196"/>
              <a:gd name="T3" fmla="*/ 142875 h 239"/>
              <a:gd name="T4" fmla="*/ 1695823 w 1196"/>
              <a:gd name="T5" fmla="*/ 130175 h 239"/>
              <a:gd name="T6" fmla="*/ 1649559 w 1196"/>
              <a:gd name="T7" fmla="*/ 368300 h 239"/>
              <a:gd name="T8" fmla="*/ 1750064 w 1196"/>
              <a:gd name="T9" fmla="*/ 376238 h 239"/>
              <a:gd name="T10" fmla="*/ 1813876 w 1196"/>
              <a:gd name="T11" fmla="*/ 309563 h 239"/>
              <a:gd name="T12" fmla="*/ 1764421 w 1196"/>
              <a:gd name="T13" fmla="*/ 212725 h 239"/>
              <a:gd name="T14" fmla="*/ 1756445 w 1196"/>
              <a:gd name="T15" fmla="*/ 142875 h 239"/>
              <a:gd name="T16" fmla="*/ 1746873 w 1196"/>
              <a:gd name="T17" fmla="*/ 100013 h 239"/>
              <a:gd name="T18" fmla="*/ 1697418 w 1196"/>
              <a:gd name="T19" fmla="*/ 92075 h 239"/>
              <a:gd name="T20" fmla="*/ 1670298 w 1196"/>
              <a:gd name="T21" fmla="*/ 130175 h 239"/>
              <a:gd name="T22" fmla="*/ 1665512 w 1196"/>
              <a:gd name="T23" fmla="*/ 187325 h 239"/>
              <a:gd name="T24" fmla="*/ 1633605 w 1196"/>
              <a:gd name="T25" fmla="*/ 322263 h 239"/>
              <a:gd name="T26" fmla="*/ 1531505 w 1196"/>
              <a:gd name="T27" fmla="*/ 133350 h 239"/>
              <a:gd name="T28" fmla="*/ 1608080 w 1196"/>
              <a:gd name="T29" fmla="*/ 33338 h 239"/>
              <a:gd name="T30" fmla="*/ 1716562 w 1196"/>
              <a:gd name="T31" fmla="*/ 0 h 239"/>
              <a:gd name="T32" fmla="*/ 1837806 w 1196"/>
              <a:gd name="T33" fmla="*/ 42863 h 239"/>
              <a:gd name="T34" fmla="*/ 1904809 w 1196"/>
              <a:gd name="T35" fmla="*/ 149225 h 239"/>
              <a:gd name="T36" fmla="*/ 1895237 w 1196"/>
              <a:gd name="T37" fmla="*/ 254000 h 239"/>
              <a:gd name="T38" fmla="*/ 1844187 w 1196"/>
              <a:gd name="T39" fmla="*/ 276225 h 239"/>
              <a:gd name="T40" fmla="*/ 1872903 w 1196"/>
              <a:gd name="T41" fmla="*/ 187325 h 239"/>
              <a:gd name="T42" fmla="*/ 1845783 w 1196"/>
              <a:gd name="T43" fmla="*/ 101600 h 239"/>
              <a:gd name="T44" fmla="*/ 1761231 w 1196"/>
              <a:gd name="T45" fmla="*/ 39688 h 239"/>
              <a:gd name="T46" fmla="*/ 1668702 w 1196"/>
              <a:gd name="T47" fmla="*/ 39688 h 239"/>
              <a:gd name="T48" fmla="*/ 1587341 w 1196"/>
              <a:gd name="T49" fmla="*/ 101600 h 239"/>
              <a:gd name="T50" fmla="*/ 1560221 w 1196"/>
              <a:gd name="T51" fmla="*/ 187325 h 239"/>
              <a:gd name="T52" fmla="*/ 1587341 w 1196"/>
              <a:gd name="T53" fmla="*/ 276225 h 239"/>
              <a:gd name="T54" fmla="*/ 1536291 w 1196"/>
              <a:gd name="T55" fmla="*/ 254000 h 239"/>
              <a:gd name="T56" fmla="*/ 1357615 w 1196"/>
              <a:gd name="T57" fmla="*/ 130175 h 239"/>
              <a:gd name="T58" fmla="*/ 1333686 w 1196"/>
              <a:gd name="T59" fmla="*/ 247650 h 239"/>
              <a:gd name="T60" fmla="*/ 1276254 w 1196"/>
              <a:gd name="T61" fmla="*/ 157163 h 239"/>
              <a:gd name="T62" fmla="*/ 1111936 w 1196"/>
              <a:gd name="T63" fmla="*/ 176213 h 239"/>
              <a:gd name="T64" fmla="*/ 1169368 w 1196"/>
              <a:gd name="T65" fmla="*/ 127000 h 239"/>
              <a:gd name="T66" fmla="*/ 1214037 w 1196"/>
              <a:gd name="T67" fmla="*/ 149225 h 239"/>
              <a:gd name="T68" fmla="*/ 1175749 w 1196"/>
              <a:gd name="T69" fmla="*/ 152400 h 239"/>
              <a:gd name="T70" fmla="*/ 1147033 w 1196"/>
              <a:gd name="T71" fmla="*/ 168275 h 239"/>
              <a:gd name="T72" fmla="*/ 1155010 w 1196"/>
              <a:gd name="T73" fmla="*/ 219075 h 239"/>
              <a:gd name="T74" fmla="*/ 1191702 w 1196"/>
              <a:gd name="T75" fmla="*/ 204788 h 239"/>
              <a:gd name="T76" fmla="*/ 1198084 w 1196"/>
              <a:gd name="T77" fmla="*/ 247650 h 239"/>
              <a:gd name="T78" fmla="*/ 1127890 w 1196"/>
              <a:gd name="T79" fmla="*/ 236538 h 239"/>
              <a:gd name="T80" fmla="*/ 1043338 w 1196"/>
              <a:gd name="T81" fmla="*/ 161925 h 239"/>
              <a:gd name="T82" fmla="*/ 1073649 w 1196"/>
              <a:gd name="T83" fmla="*/ 247650 h 239"/>
              <a:gd name="T84" fmla="*/ 891783 w 1196"/>
              <a:gd name="T85" fmla="*/ 177800 h 239"/>
              <a:gd name="T86" fmla="*/ 863067 w 1196"/>
              <a:gd name="T87" fmla="*/ 130175 h 239"/>
              <a:gd name="T88" fmla="*/ 794468 w 1196"/>
              <a:gd name="T89" fmla="*/ 185738 h 239"/>
              <a:gd name="T90" fmla="*/ 729060 w 1196"/>
              <a:gd name="T91" fmla="*/ 201613 h 239"/>
              <a:gd name="T92" fmla="*/ 705130 w 1196"/>
              <a:gd name="T93" fmla="*/ 176213 h 239"/>
              <a:gd name="T94" fmla="*/ 492953 w 1196"/>
              <a:gd name="T95" fmla="*/ 247650 h 239"/>
              <a:gd name="T96" fmla="*/ 567933 w 1196"/>
              <a:gd name="T97" fmla="*/ 200025 h 239"/>
              <a:gd name="T98" fmla="*/ 433926 w 1196"/>
              <a:gd name="T99" fmla="*/ 203200 h 239"/>
              <a:gd name="T100" fmla="*/ 392448 w 1196"/>
              <a:gd name="T101" fmla="*/ 130175 h 239"/>
              <a:gd name="T102" fmla="*/ 277585 w 1196"/>
              <a:gd name="T103" fmla="*/ 201613 h 239"/>
              <a:gd name="T104" fmla="*/ 247274 w 1196"/>
              <a:gd name="T105" fmla="*/ 130175 h 239"/>
              <a:gd name="T106" fmla="*/ 132411 w 1196"/>
              <a:gd name="T107" fmla="*/ 239713 h 239"/>
              <a:gd name="T108" fmla="*/ 188247 w 1196"/>
              <a:gd name="T109" fmla="*/ 249238 h 239"/>
              <a:gd name="T110" fmla="*/ 220154 w 1196"/>
              <a:gd name="T111" fmla="*/ 130175 h 239"/>
              <a:gd name="T112" fmla="*/ 170699 w 1196"/>
              <a:gd name="T113" fmla="*/ 225425 h 239"/>
              <a:gd name="T114" fmla="*/ 118054 w 1196"/>
              <a:gd name="T115" fmla="*/ 130175 h 239"/>
              <a:gd name="T116" fmla="*/ 105291 w 1196"/>
              <a:gd name="T117" fmla="*/ 247650 h 239"/>
              <a:gd name="T118" fmla="*/ 0 w 1196"/>
              <a:gd name="T119" fmla="*/ 247650 h 2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96" h="239">
                <a:moveTo>
                  <a:pt x="1063" y="82"/>
                </a:moveTo>
                <a:lnTo>
                  <a:pt x="1063" y="82"/>
                </a:lnTo>
                <a:lnTo>
                  <a:pt x="1064" y="78"/>
                </a:lnTo>
                <a:lnTo>
                  <a:pt x="1066" y="73"/>
                </a:lnTo>
                <a:lnTo>
                  <a:pt x="1070" y="71"/>
                </a:lnTo>
                <a:lnTo>
                  <a:pt x="1075" y="70"/>
                </a:lnTo>
                <a:lnTo>
                  <a:pt x="1080" y="71"/>
                </a:lnTo>
                <a:lnTo>
                  <a:pt x="1084" y="73"/>
                </a:lnTo>
                <a:lnTo>
                  <a:pt x="1086" y="78"/>
                </a:lnTo>
                <a:lnTo>
                  <a:pt x="1087" y="82"/>
                </a:lnTo>
                <a:lnTo>
                  <a:pt x="1086" y="87"/>
                </a:lnTo>
                <a:lnTo>
                  <a:pt x="1084" y="90"/>
                </a:lnTo>
                <a:lnTo>
                  <a:pt x="1080" y="93"/>
                </a:lnTo>
                <a:lnTo>
                  <a:pt x="1075" y="94"/>
                </a:lnTo>
                <a:lnTo>
                  <a:pt x="1070" y="93"/>
                </a:lnTo>
                <a:lnTo>
                  <a:pt x="1066" y="90"/>
                </a:lnTo>
                <a:lnTo>
                  <a:pt x="1064" y="87"/>
                </a:lnTo>
                <a:lnTo>
                  <a:pt x="1063" y="82"/>
                </a:lnTo>
                <a:close/>
                <a:moveTo>
                  <a:pt x="998" y="211"/>
                </a:moveTo>
                <a:lnTo>
                  <a:pt x="998" y="211"/>
                </a:lnTo>
                <a:lnTo>
                  <a:pt x="1006" y="217"/>
                </a:lnTo>
                <a:lnTo>
                  <a:pt x="1015" y="222"/>
                </a:lnTo>
                <a:lnTo>
                  <a:pt x="1024" y="227"/>
                </a:lnTo>
                <a:lnTo>
                  <a:pt x="1034" y="232"/>
                </a:lnTo>
                <a:lnTo>
                  <a:pt x="1044" y="235"/>
                </a:lnTo>
                <a:lnTo>
                  <a:pt x="1054" y="237"/>
                </a:lnTo>
                <a:lnTo>
                  <a:pt x="1064" y="238"/>
                </a:lnTo>
                <a:lnTo>
                  <a:pt x="1076" y="239"/>
                </a:lnTo>
                <a:lnTo>
                  <a:pt x="1086" y="238"/>
                </a:lnTo>
                <a:lnTo>
                  <a:pt x="1097" y="237"/>
                </a:lnTo>
                <a:lnTo>
                  <a:pt x="1106" y="235"/>
                </a:lnTo>
                <a:lnTo>
                  <a:pt x="1117" y="232"/>
                </a:lnTo>
                <a:lnTo>
                  <a:pt x="1126" y="227"/>
                </a:lnTo>
                <a:lnTo>
                  <a:pt x="1136" y="222"/>
                </a:lnTo>
                <a:lnTo>
                  <a:pt x="1144" y="217"/>
                </a:lnTo>
                <a:lnTo>
                  <a:pt x="1153" y="211"/>
                </a:lnTo>
                <a:lnTo>
                  <a:pt x="1137" y="195"/>
                </a:lnTo>
                <a:lnTo>
                  <a:pt x="1126" y="203"/>
                </a:lnTo>
                <a:lnTo>
                  <a:pt x="1114" y="211"/>
                </a:lnTo>
                <a:lnTo>
                  <a:pt x="1100" y="216"/>
                </a:lnTo>
                <a:lnTo>
                  <a:pt x="1086" y="218"/>
                </a:lnTo>
                <a:lnTo>
                  <a:pt x="1086" y="134"/>
                </a:lnTo>
                <a:lnTo>
                  <a:pt x="1106" y="134"/>
                </a:lnTo>
                <a:lnTo>
                  <a:pt x="1106" y="118"/>
                </a:lnTo>
                <a:lnTo>
                  <a:pt x="1086" y="118"/>
                </a:lnTo>
                <a:lnTo>
                  <a:pt x="1086" y="106"/>
                </a:lnTo>
                <a:lnTo>
                  <a:pt x="1093" y="103"/>
                </a:lnTo>
                <a:lnTo>
                  <a:pt x="1098" y="97"/>
                </a:lnTo>
                <a:lnTo>
                  <a:pt x="1101" y="90"/>
                </a:lnTo>
                <a:lnTo>
                  <a:pt x="1102" y="86"/>
                </a:lnTo>
                <a:lnTo>
                  <a:pt x="1103" y="82"/>
                </a:lnTo>
                <a:lnTo>
                  <a:pt x="1102" y="77"/>
                </a:lnTo>
                <a:lnTo>
                  <a:pt x="1101" y="71"/>
                </a:lnTo>
                <a:lnTo>
                  <a:pt x="1098" y="67"/>
                </a:lnTo>
                <a:lnTo>
                  <a:pt x="1095" y="63"/>
                </a:lnTo>
                <a:lnTo>
                  <a:pt x="1091" y="60"/>
                </a:lnTo>
                <a:lnTo>
                  <a:pt x="1086" y="58"/>
                </a:lnTo>
                <a:lnTo>
                  <a:pt x="1081" y="56"/>
                </a:lnTo>
                <a:lnTo>
                  <a:pt x="1076" y="56"/>
                </a:lnTo>
                <a:lnTo>
                  <a:pt x="1069" y="56"/>
                </a:lnTo>
                <a:lnTo>
                  <a:pt x="1064" y="58"/>
                </a:lnTo>
                <a:lnTo>
                  <a:pt x="1060" y="60"/>
                </a:lnTo>
                <a:lnTo>
                  <a:pt x="1056" y="63"/>
                </a:lnTo>
                <a:lnTo>
                  <a:pt x="1053" y="67"/>
                </a:lnTo>
                <a:lnTo>
                  <a:pt x="1049" y="71"/>
                </a:lnTo>
                <a:lnTo>
                  <a:pt x="1048" y="77"/>
                </a:lnTo>
                <a:lnTo>
                  <a:pt x="1047" y="82"/>
                </a:lnTo>
                <a:lnTo>
                  <a:pt x="1048" y="86"/>
                </a:lnTo>
                <a:lnTo>
                  <a:pt x="1049" y="90"/>
                </a:lnTo>
                <a:lnTo>
                  <a:pt x="1053" y="97"/>
                </a:lnTo>
                <a:lnTo>
                  <a:pt x="1058" y="103"/>
                </a:lnTo>
                <a:lnTo>
                  <a:pt x="1064" y="106"/>
                </a:lnTo>
                <a:lnTo>
                  <a:pt x="1064" y="118"/>
                </a:lnTo>
                <a:lnTo>
                  <a:pt x="1044" y="118"/>
                </a:lnTo>
                <a:lnTo>
                  <a:pt x="1044" y="134"/>
                </a:lnTo>
                <a:lnTo>
                  <a:pt x="1064" y="134"/>
                </a:lnTo>
                <a:lnTo>
                  <a:pt x="1064" y="218"/>
                </a:lnTo>
                <a:lnTo>
                  <a:pt x="1050" y="216"/>
                </a:lnTo>
                <a:lnTo>
                  <a:pt x="1037" y="211"/>
                </a:lnTo>
                <a:lnTo>
                  <a:pt x="1024" y="203"/>
                </a:lnTo>
                <a:lnTo>
                  <a:pt x="1014" y="195"/>
                </a:lnTo>
                <a:lnTo>
                  <a:pt x="998" y="211"/>
                </a:lnTo>
                <a:close/>
                <a:moveTo>
                  <a:pt x="954" y="118"/>
                </a:moveTo>
                <a:lnTo>
                  <a:pt x="954" y="118"/>
                </a:lnTo>
                <a:lnTo>
                  <a:pt x="956" y="107"/>
                </a:lnTo>
                <a:lnTo>
                  <a:pt x="958" y="94"/>
                </a:lnTo>
                <a:lnTo>
                  <a:pt x="960" y="84"/>
                </a:lnTo>
                <a:lnTo>
                  <a:pt x="964" y="72"/>
                </a:lnTo>
                <a:lnTo>
                  <a:pt x="969" y="62"/>
                </a:lnTo>
                <a:lnTo>
                  <a:pt x="976" y="52"/>
                </a:lnTo>
                <a:lnTo>
                  <a:pt x="982" y="43"/>
                </a:lnTo>
                <a:lnTo>
                  <a:pt x="990" y="35"/>
                </a:lnTo>
                <a:lnTo>
                  <a:pt x="999" y="27"/>
                </a:lnTo>
                <a:lnTo>
                  <a:pt x="1008" y="21"/>
                </a:lnTo>
                <a:lnTo>
                  <a:pt x="1018" y="15"/>
                </a:lnTo>
                <a:lnTo>
                  <a:pt x="1028" y="9"/>
                </a:lnTo>
                <a:lnTo>
                  <a:pt x="1040" y="5"/>
                </a:lnTo>
                <a:lnTo>
                  <a:pt x="1052" y="3"/>
                </a:lnTo>
                <a:lnTo>
                  <a:pt x="1063" y="1"/>
                </a:lnTo>
                <a:lnTo>
                  <a:pt x="1076" y="0"/>
                </a:lnTo>
                <a:lnTo>
                  <a:pt x="1087" y="1"/>
                </a:lnTo>
                <a:lnTo>
                  <a:pt x="1100" y="3"/>
                </a:lnTo>
                <a:lnTo>
                  <a:pt x="1111" y="5"/>
                </a:lnTo>
                <a:lnTo>
                  <a:pt x="1122" y="9"/>
                </a:lnTo>
                <a:lnTo>
                  <a:pt x="1133" y="15"/>
                </a:lnTo>
                <a:lnTo>
                  <a:pt x="1142" y="21"/>
                </a:lnTo>
                <a:lnTo>
                  <a:pt x="1152" y="27"/>
                </a:lnTo>
                <a:lnTo>
                  <a:pt x="1160" y="35"/>
                </a:lnTo>
                <a:lnTo>
                  <a:pt x="1169" y="43"/>
                </a:lnTo>
                <a:lnTo>
                  <a:pt x="1175" y="52"/>
                </a:lnTo>
                <a:lnTo>
                  <a:pt x="1181" y="62"/>
                </a:lnTo>
                <a:lnTo>
                  <a:pt x="1187" y="72"/>
                </a:lnTo>
                <a:lnTo>
                  <a:pt x="1191" y="84"/>
                </a:lnTo>
                <a:lnTo>
                  <a:pt x="1194" y="94"/>
                </a:lnTo>
                <a:lnTo>
                  <a:pt x="1195" y="107"/>
                </a:lnTo>
                <a:lnTo>
                  <a:pt x="1196" y="118"/>
                </a:lnTo>
                <a:lnTo>
                  <a:pt x="1195" y="130"/>
                </a:lnTo>
                <a:lnTo>
                  <a:pt x="1194" y="140"/>
                </a:lnTo>
                <a:lnTo>
                  <a:pt x="1192" y="151"/>
                </a:lnTo>
                <a:lnTo>
                  <a:pt x="1188" y="160"/>
                </a:lnTo>
                <a:lnTo>
                  <a:pt x="1184" y="171"/>
                </a:lnTo>
                <a:lnTo>
                  <a:pt x="1179" y="179"/>
                </a:lnTo>
                <a:lnTo>
                  <a:pt x="1173" y="189"/>
                </a:lnTo>
                <a:lnTo>
                  <a:pt x="1166" y="197"/>
                </a:lnTo>
                <a:lnTo>
                  <a:pt x="1151" y="181"/>
                </a:lnTo>
                <a:lnTo>
                  <a:pt x="1156" y="174"/>
                </a:lnTo>
                <a:lnTo>
                  <a:pt x="1160" y="167"/>
                </a:lnTo>
                <a:lnTo>
                  <a:pt x="1164" y="159"/>
                </a:lnTo>
                <a:lnTo>
                  <a:pt x="1168" y="152"/>
                </a:lnTo>
                <a:lnTo>
                  <a:pt x="1170" y="144"/>
                </a:lnTo>
                <a:lnTo>
                  <a:pt x="1172" y="135"/>
                </a:lnTo>
                <a:lnTo>
                  <a:pt x="1173" y="127"/>
                </a:lnTo>
                <a:lnTo>
                  <a:pt x="1174" y="118"/>
                </a:lnTo>
                <a:lnTo>
                  <a:pt x="1173" y="109"/>
                </a:lnTo>
                <a:lnTo>
                  <a:pt x="1172" y="100"/>
                </a:lnTo>
                <a:lnTo>
                  <a:pt x="1169" y="90"/>
                </a:lnTo>
                <a:lnTo>
                  <a:pt x="1165" y="81"/>
                </a:lnTo>
                <a:lnTo>
                  <a:pt x="1161" y="72"/>
                </a:lnTo>
                <a:lnTo>
                  <a:pt x="1157" y="64"/>
                </a:lnTo>
                <a:lnTo>
                  <a:pt x="1151" y="57"/>
                </a:lnTo>
                <a:lnTo>
                  <a:pt x="1144" y="49"/>
                </a:lnTo>
                <a:lnTo>
                  <a:pt x="1138" y="43"/>
                </a:lnTo>
                <a:lnTo>
                  <a:pt x="1130" y="38"/>
                </a:lnTo>
                <a:lnTo>
                  <a:pt x="1122" y="32"/>
                </a:lnTo>
                <a:lnTo>
                  <a:pt x="1114" y="28"/>
                </a:lnTo>
                <a:lnTo>
                  <a:pt x="1104" y="25"/>
                </a:lnTo>
                <a:lnTo>
                  <a:pt x="1095" y="23"/>
                </a:lnTo>
                <a:lnTo>
                  <a:pt x="1085" y="21"/>
                </a:lnTo>
                <a:lnTo>
                  <a:pt x="1076" y="21"/>
                </a:lnTo>
                <a:lnTo>
                  <a:pt x="1065" y="21"/>
                </a:lnTo>
                <a:lnTo>
                  <a:pt x="1056" y="23"/>
                </a:lnTo>
                <a:lnTo>
                  <a:pt x="1046" y="25"/>
                </a:lnTo>
                <a:lnTo>
                  <a:pt x="1037" y="28"/>
                </a:lnTo>
                <a:lnTo>
                  <a:pt x="1028" y="32"/>
                </a:lnTo>
                <a:lnTo>
                  <a:pt x="1021" y="38"/>
                </a:lnTo>
                <a:lnTo>
                  <a:pt x="1014" y="43"/>
                </a:lnTo>
                <a:lnTo>
                  <a:pt x="1006" y="49"/>
                </a:lnTo>
                <a:lnTo>
                  <a:pt x="1000" y="57"/>
                </a:lnTo>
                <a:lnTo>
                  <a:pt x="995" y="64"/>
                </a:lnTo>
                <a:lnTo>
                  <a:pt x="989" y="72"/>
                </a:lnTo>
                <a:lnTo>
                  <a:pt x="985" y="81"/>
                </a:lnTo>
                <a:lnTo>
                  <a:pt x="982" y="90"/>
                </a:lnTo>
                <a:lnTo>
                  <a:pt x="979" y="100"/>
                </a:lnTo>
                <a:lnTo>
                  <a:pt x="978" y="109"/>
                </a:lnTo>
                <a:lnTo>
                  <a:pt x="978" y="118"/>
                </a:lnTo>
                <a:lnTo>
                  <a:pt x="978" y="127"/>
                </a:lnTo>
                <a:lnTo>
                  <a:pt x="979" y="135"/>
                </a:lnTo>
                <a:lnTo>
                  <a:pt x="981" y="144"/>
                </a:lnTo>
                <a:lnTo>
                  <a:pt x="983" y="152"/>
                </a:lnTo>
                <a:lnTo>
                  <a:pt x="986" y="159"/>
                </a:lnTo>
                <a:lnTo>
                  <a:pt x="990" y="167"/>
                </a:lnTo>
                <a:lnTo>
                  <a:pt x="995" y="174"/>
                </a:lnTo>
                <a:lnTo>
                  <a:pt x="1000" y="181"/>
                </a:lnTo>
                <a:lnTo>
                  <a:pt x="984" y="197"/>
                </a:lnTo>
                <a:lnTo>
                  <a:pt x="978" y="189"/>
                </a:lnTo>
                <a:lnTo>
                  <a:pt x="971" y="179"/>
                </a:lnTo>
                <a:lnTo>
                  <a:pt x="967" y="171"/>
                </a:lnTo>
                <a:lnTo>
                  <a:pt x="963" y="160"/>
                </a:lnTo>
                <a:lnTo>
                  <a:pt x="959" y="151"/>
                </a:lnTo>
                <a:lnTo>
                  <a:pt x="957" y="140"/>
                </a:lnTo>
                <a:lnTo>
                  <a:pt x="956" y="130"/>
                </a:lnTo>
                <a:lnTo>
                  <a:pt x="954" y="118"/>
                </a:lnTo>
                <a:close/>
                <a:moveTo>
                  <a:pt x="851" y="156"/>
                </a:moveTo>
                <a:lnTo>
                  <a:pt x="851" y="82"/>
                </a:lnTo>
                <a:lnTo>
                  <a:pt x="871" y="82"/>
                </a:lnTo>
                <a:lnTo>
                  <a:pt x="871" y="139"/>
                </a:lnTo>
                <a:lnTo>
                  <a:pt x="905" y="139"/>
                </a:lnTo>
                <a:lnTo>
                  <a:pt x="905" y="156"/>
                </a:lnTo>
                <a:lnTo>
                  <a:pt x="851" y="156"/>
                </a:lnTo>
                <a:close/>
                <a:moveTo>
                  <a:pt x="782" y="156"/>
                </a:moveTo>
                <a:lnTo>
                  <a:pt x="836" y="156"/>
                </a:lnTo>
                <a:lnTo>
                  <a:pt x="836" y="139"/>
                </a:lnTo>
                <a:lnTo>
                  <a:pt x="800" y="139"/>
                </a:lnTo>
                <a:lnTo>
                  <a:pt x="800" y="127"/>
                </a:lnTo>
                <a:lnTo>
                  <a:pt x="830" y="127"/>
                </a:lnTo>
                <a:lnTo>
                  <a:pt x="830" y="111"/>
                </a:lnTo>
                <a:lnTo>
                  <a:pt x="800" y="111"/>
                </a:lnTo>
                <a:lnTo>
                  <a:pt x="800" y="99"/>
                </a:lnTo>
                <a:lnTo>
                  <a:pt x="835" y="99"/>
                </a:lnTo>
                <a:lnTo>
                  <a:pt x="835" y="82"/>
                </a:lnTo>
                <a:lnTo>
                  <a:pt x="782" y="82"/>
                </a:lnTo>
                <a:lnTo>
                  <a:pt x="782" y="156"/>
                </a:lnTo>
                <a:close/>
                <a:moveTo>
                  <a:pt x="696" y="120"/>
                </a:moveTo>
                <a:lnTo>
                  <a:pt x="696" y="120"/>
                </a:lnTo>
                <a:lnTo>
                  <a:pt x="697" y="111"/>
                </a:lnTo>
                <a:lnTo>
                  <a:pt x="699" y="104"/>
                </a:lnTo>
                <a:lnTo>
                  <a:pt x="702" y="96"/>
                </a:lnTo>
                <a:lnTo>
                  <a:pt x="707" y="91"/>
                </a:lnTo>
                <a:lnTo>
                  <a:pt x="712" y="86"/>
                </a:lnTo>
                <a:lnTo>
                  <a:pt x="718" y="83"/>
                </a:lnTo>
                <a:lnTo>
                  <a:pt x="725" y="81"/>
                </a:lnTo>
                <a:lnTo>
                  <a:pt x="733" y="80"/>
                </a:lnTo>
                <a:lnTo>
                  <a:pt x="739" y="81"/>
                </a:lnTo>
                <a:lnTo>
                  <a:pt x="745" y="82"/>
                </a:lnTo>
                <a:lnTo>
                  <a:pt x="750" y="84"/>
                </a:lnTo>
                <a:lnTo>
                  <a:pt x="754" y="86"/>
                </a:lnTo>
                <a:lnTo>
                  <a:pt x="758" y="90"/>
                </a:lnTo>
                <a:lnTo>
                  <a:pt x="761" y="94"/>
                </a:lnTo>
                <a:lnTo>
                  <a:pt x="765" y="100"/>
                </a:lnTo>
                <a:lnTo>
                  <a:pt x="766" y="106"/>
                </a:lnTo>
                <a:lnTo>
                  <a:pt x="746" y="106"/>
                </a:lnTo>
                <a:lnTo>
                  <a:pt x="744" y="101"/>
                </a:lnTo>
                <a:lnTo>
                  <a:pt x="741" y="99"/>
                </a:lnTo>
                <a:lnTo>
                  <a:pt x="737" y="96"/>
                </a:lnTo>
                <a:lnTo>
                  <a:pt x="733" y="96"/>
                </a:lnTo>
                <a:lnTo>
                  <a:pt x="730" y="96"/>
                </a:lnTo>
                <a:lnTo>
                  <a:pt x="726" y="99"/>
                </a:lnTo>
                <a:lnTo>
                  <a:pt x="724" y="101"/>
                </a:lnTo>
                <a:lnTo>
                  <a:pt x="720" y="103"/>
                </a:lnTo>
                <a:lnTo>
                  <a:pt x="719" y="106"/>
                </a:lnTo>
                <a:lnTo>
                  <a:pt x="717" y="110"/>
                </a:lnTo>
                <a:lnTo>
                  <a:pt x="716" y="120"/>
                </a:lnTo>
                <a:lnTo>
                  <a:pt x="717" y="129"/>
                </a:lnTo>
                <a:lnTo>
                  <a:pt x="719" y="132"/>
                </a:lnTo>
                <a:lnTo>
                  <a:pt x="721" y="136"/>
                </a:lnTo>
                <a:lnTo>
                  <a:pt x="724" y="138"/>
                </a:lnTo>
                <a:lnTo>
                  <a:pt x="727" y="140"/>
                </a:lnTo>
                <a:lnTo>
                  <a:pt x="730" y="143"/>
                </a:lnTo>
                <a:lnTo>
                  <a:pt x="734" y="143"/>
                </a:lnTo>
                <a:lnTo>
                  <a:pt x="741" y="142"/>
                </a:lnTo>
                <a:lnTo>
                  <a:pt x="747" y="139"/>
                </a:lnTo>
                <a:lnTo>
                  <a:pt x="747" y="129"/>
                </a:lnTo>
                <a:lnTo>
                  <a:pt x="734" y="129"/>
                </a:lnTo>
                <a:lnTo>
                  <a:pt x="734" y="115"/>
                </a:lnTo>
                <a:lnTo>
                  <a:pt x="766" y="115"/>
                </a:lnTo>
                <a:lnTo>
                  <a:pt x="766" y="148"/>
                </a:lnTo>
                <a:lnTo>
                  <a:pt x="758" y="153"/>
                </a:lnTo>
                <a:lnTo>
                  <a:pt x="751" y="156"/>
                </a:lnTo>
                <a:lnTo>
                  <a:pt x="742" y="158"/>
                </a:lnTo>
                <a:lnTo>
                  <a:pt x="736" y="159"/>
                </a:lnTo>
                <a:lnTo>
                  <a:pt x="727" y="158"/>
                </a:lnTo>
                <a:lnTo>
                  <a:pt x="719" y="156"/>
                </a:lnTo>
                <a:lnTo>
                  <a:pt x="712" y="153"/>
                </a:lnTo>
                <a:lnTo>
                  <a:pt x="707" y="149"/>
                </a:lnTo>
                <a:lnTo>
                  <a:pt x="702" y="143"/>
                </a:lnTo>
                <a:lnTo>
                  <a:pt x="699" y="136"/>
                </a:lnTo>
                <a:lnTo>
                  <a:pt x="697" y="128"/>
                </a:lnTo>
                <a:lnTo>
                  <a:pt x="696" y="120"/>
                </a:lnTo>
                <a:close/>
                <a:moveTo>
                  <a:pt x="644" y="130"/>
                </a:moveTo>
                <a:lnTo>
                  <a:pt x="654" y="102"/>
                </a:lnTo>
                <a:lnTo>
                  <a:pt x="663" y="130"/>
                </a:lnTo>
                <a:lnTo>
                  <a:pt x="644" y="130"/>
                </a:lnTo>
                <a:close/>
                <a:moveTo>
                  <a:pt x="615" y="156"/>
                </a:moveTo>
                <a:lnTo>
                  <a:pt x="636" y="156"/>
                </a:lnTo>
                <a:lnTo>
                  <a:pt x="639" y="145"/>
                </a:lnTo>
                <a:lnTo>
                  <a:pt x="669" y="145"/>
                </a:lnTo>
                <a:lnTo>
                  <a:pt x="673" y="156"/>
                </a:lnTo>
                <a:lnTo>
                  <a:pt x="693" y="156"/>
                </a:lnTo>
                <a:lnTo>
                  <a:pt x="664" y="82"/>
                </a:lnTo>
                <a:lnTo>
                  <a:pt x="643" y="82"/>
                </a:lnTo>
                <a:lnTo>
                  <a:pt x="615" y="156"/>
                </a:lnTo>
                <a:close/>
                <a:moveTo>
                  <a:pt x="541" y="156"/>
                </a:moveTo>
                <a:lnTo>
                  <a:pt x="559" y="156"/>
                </a:lnTo>
                <a:lnTo>
                  <a:pt x="559" y="112"/>
                </a:lnTo>
                <a:lnTo>
                  <a:pt x="585" y="156"/>
                </a:lnTo>
                <a:lnTo>
                  <a:pt x="606" y="156"/>
                </a:lnTo>
                <a:lnTo>
                  <a:pt x="606" y="82"/>
                </a:lnTo>
                <a:lnTo>
                  <a:pt x="587" y="82"/>
                </a:lnTo>
                <a:lnTo>
                  <a:pt x="587" y="126"/>
                </a:lnTo>
                <a:lnTo>
                  <a:pt x="561" y="82"/>
                </a:lnTo>
                <a:lnTo>
                  <a:pt x="541" y="82"/>
                </a:lnTo>
                <a:lnTo>
                  <a:pt x="541" y="156"/>
                </a:lnTo>
                <a:close/>
                <a:moveTo>
                  <a:pt x="457" y="127"/>
                </a:moveTo>
                <a:lnTo>
                  <a:pt x="457" y="117"/>
                </a:lnTo>
                <a:lnTo>
                  <a:pt x="486" y="117"/>
                </a:lnTo>
                <a:lnTo>
                  <a:pt x="486" y="87"/>
                </a:lnTo>
                <a:lnTo>
                  <a:pt x="498" y="87"/>
                </a:lnTo>
                <a:lnTo>
                  <a:pt x="498" y="117"/>
                </a:lnTo>
                <a:lnTo>
                  <a:pt x="527" y="117"/>
                </a:lnTo>
                <a:lnTo>
                  <a:pt x="527" y="127"/>
                </a:lnTo>
                <a:lnTo>
                  <a:pt x="498" y="127"/>
                </a:lnTo>
                <a:lnTo>
                  <a:pt x="498" y="156"/>
                </a:lnTo>
                <a:lnTo>
                  <a:pt x="486" y="156"/>
                </a:lnTo>
                <a:lnTo>
                  <a:pt x="486" y="127"/>
                </a:lnTo>
                <a:lnTo>
                  <a:pt x="457" y="127"/>
                </a:lnTo>
                <a:close/>
                <a:moveTo>
                  <a:pt x="392" y="156"/>
                </a:moveTo>
                <a:lnTo>
                  <a:pt x="448" y="156"/>
                </a:lnTo>
                <a:lnTo>
                  <a:pt x="448" y="139"/>
                </a:lnTo>
                <a:lnTo>
                  <a:pt x="411" y="139"/>
                </a:lnTo>
                <a:lnTo>
                  <a:pt x="411" y="127"/>
                </a:lnTo>
                <a:lnTo>
                  <a:pt x="442" y="127"/>
                </a:lnTo>
                <a:lnTo>
                  <a:pt x="442" y="111"/>
                </a:lnTo>
                <a:lnTo>
                  <a:pt x="411" y="111"/>
                </a:lnTo>
                <a:lnTo>
                  <a:pt x="411" y="99"/>
                </a:lnTo>
                <a:lnTo>
                  <a:pt x="446" y="99"/>
                </a:lnTo>
                <a:lnTo>
                  <a:pt x="446" y="82"/>
                </a:lnTo>
                <a:lnTo>
                  <a:pt x="392" y="82"/>
                </a:lnTo>
                <a:lnTo>
                  <a:pt x="392" y="156"/>
                </a:lnTo>
                <a:close/>
                <a:moveTo>
                  <a:pt x="309" y="156"/>
                </a:moveTo>
                <a:lnTo>
                  <a:pt x="328" y="156"/>
                </a:lnTo>
                <a:lnTo>
                  <a:pt x="328" y="112"/>
                </a:lnTo>
                <a:lnTo>
                  <a:pt x="354" y="156"/>
                </a:lnTo>
                <a:lnTo>
                  <a:pt x="374" y="156"/>
                </a:lnTo>
                <a:lnTo>
                  <a:pt x="374" y="82"/>
                </a:lnTo>
                <a:lnTo>
                  <a:pt x="356" y="82"/>
                </a:lnTo>
                <a:lnTo>
                  <a:pt x="356" y="126"/>
                </a:lnTo>
                <a:lnTo>
                  <a:pt x="329" y="82"/>
                </a:lnTo>
                <a:lnTo>
                  <a:pt x="309" y="82"/>
                </a:lnTo>
                <a:lnTo>
                  <a:pt x="309" y="156"/>
                </a:lnTo>
                <a:close/>
                <a:moveTo>
                  <a:pt x="226" y="156"/>
                </a:moveTo>
                <a:lnTo>
                  <a:pt x="246" y="156"/>
                </a:lnTo>
                <a:lnTo>
                  <a:pt x="246" y="128"/>
                </a:lnTo>
                <a:lnTo>
                  <a:pt x="272" y="128"/>
                </a:lnTo>
                <a:lnTo>
                  <a:pt x="272" y="156"/>
                </a:lnTo>
                <a:lnTo>
                  <a:pt x="292" y="156"/>
                </a:lnTo>
                <a:lnTo>
                  <a:pt x="292" y="82"/>
                </a:lnTo>
                <a:lnTo>
                  <a:pt x="272" y="82"/>
                </a:lnTo>
                <a:lnTo>
                  <a:pt x="272" y="110"/>
                </a:lnTo>
                <a:lnTo>
                  <a:pt x="246" y="110"/>
                </a:lnTo>
                <a:lnTo>
                  <a:pt x="246" y="82"/>
                </a:lnTo>
                <a:lnTo>
                  <a:pt x="226" y="82"/>
                </a:lnTo>
                <a:lnTo>
                  <a:pt x="226" y="156"/>
                </a:lnTo>
                <a:close/>
                <a:moveTo>
                  <a:pt x="155" y="156"/>
                </a:moveTo>
                <a:lnTo>
                  <a:pt x="211" y="156"/>
                </a:lnTo>
                <a:lnTo>
                  <a:pt x="211" y="139"/>
                </a:lnTo>
                <a:lnTo>
                  <a:pt x="174" y="139"/>
                </a:lnTo>
                <a:lnTo>
                  <a:pt x="174" y="127"/>
                </a:lnTo>
                <a:lnTo>
                  <a:pt x="205" y="127"/>
                </a:lnTo>
                <a:lnTo>
                  <a:pt x="205" y="111"/>
                </a:lnTo>
                <a:lnTo>
                  <a:pt x="174" y="111"/>
                </a:lnTo>
                <a:lnTo>
                  <a:pt x="174" y="99"/>
                </a:lnTo>
                <a:lnTo>
                  <a:pt x="209" y="99"/>
                </a:lnTo>
                <a:lnTo>
                  <a:pt x="209" y="82"/>
                </a:lnTo>
                <a:lnTo>
                  <a:pt x="155" y="82"/>
                </a:lnTo>
                <a:lnTo>
                  <a:pt x="155" y="156"/>
                </a:lnTo>
                <a:close/>
                <a:moveTo>
                  <a:pt x="74" y="126"/>
                </a:moveTo>
                <a:lnTo>
                  <a:pt x="74" y="126"/>
                </a:lnTo>
                <a:lnTo>
                  <a:pt x="74" y="134"/>
                </a:lnTo>
                <a:lnTo>
                  <a:pt x="76" y="142"/>
                </a:lnTo>
                <a:lnTo>
                  <a:pt x="79" y="147"/>
                </a:lnTo>
                <a:lnTo>
                  <a:pt x="83" y="151"/>
                </a:lnTo>
                <a:lnTo>
                  <a:pt x="89" y="155"/>
                </a:lnTo>
                <a:lnTo>
                  <a:pt x="94" y="157"/>
                </a:lnTo>
                <a:lnTo>
                  <a:pt x="99" y="158"/>
                </a:lnTo>
                <a:lnTo>
                  <a:pt x="107" y="159"/>
                </a:lnTo>
                <a:lnTo>
                  <a:pt x="113" y="158"/>
                </a:lnTo>
                <a:lnTo>
                  <a:pt x="118" y="157"/>
                </a:lnTo>
                <a:lnTo>
                  <a:pt x="124" y="155"/>
                </a:lnTo>
                <a:lnTo>
                  <a:pt x="129" y="151"/>
                </a:lnTo>
                <a:lnTo>
                  <a:pt x="133" y="147"/>
                </a:lnTo>
                <a:lnTo>
                  <a:pt x="136" y="142"/>
                </a:lnTo>
                <a:lnTo>
                  <a:pt x="138" y="134"/>
                </a:lnTo>
                <a:lnTo>
                  <a:pt x="138" y="126"/>
                </a:lnTo>
                <a:lnTo>
                  <a:pt x="138" y="82"/>
                </a:lnTo>
                <a:lnTo>
                  <a:pt x="118" y="82"/>
                </a:lnTo>
                <a:lnTo>
                  <a:pt x="118" y="129"/>
                </a:lnTo>
                <a:lnTo>
                  <a:pt x="117" y="134"/>
                </a:lnTo>
                <a:lnTo>
                  <a:pt x="115" y="138"/>
                </a:lnTo>
                <a:lnTo>
                  <a:pt x="112" y="142"/>
                </a:lnTo>
                <a:lnTo>
                  <a:pt x="107" y="142"/>
                </a:lnTo>
                <a:lnTo>
                  <a:pt x="100" y="142"/>
                </a:lnTo>
                <a:lnTo>
                  <a:pt x="97" y="138"/>
                </a:lnTo>
                <a:lnTo>
                  <a:pt x="94" y="134"/>
                </a:lnTo>
                <a:lnTo>
                  <a:pt x="94" y="129"/>
                </a:lnTo>
                <a:lnTo>
                  <a:pt x="94" y="82"/>
                </a:lnTo>
                <a:lnTo>
                  <a:pt x="74" y="82"/>
                </a:lnTo>
                <a:lnTo>
                  <a:pt x="74" y="126"/>
                </a:lnTo>
                <a:close/>
                <a:moveTo>
                  <a:pt x="0" y="156"/>
                </a:moveTo>
                <a:lnTo>
                  <a:pt x="20" y="156"/>
                </a:lnTo>
                <a:lnTo>
                  <a:pt x="20" y="135"/>
                </a:lnTo>
                <a:lnTo>
                  <a:pt x="26" y="127"/>
                </a:lnTo>
                <a:lnTo>
                  <a:pt x="43" y="156"/>
                </a:lnTo>
                <a:lnTo>
                  <a:pt x="66" y="156"/>
                </a:lnTo>
                <a:lnTo>
                  <a:pt x="40" y="112"/>
                </a:lnTo>
                <a:lnTo>
                  <a:pt x="63" y="82"/>
                </a:lnTo>
                <a:lnTo>
                  <a:pt x="40" y="82"/>
                </a:lnTo>
                <a:lnTo>
                  <a:pt x="20" y="109"/>
                </a:lnTo>
                <a:lnTo>
                  <a:pt x="20" y="82"/>
                </a:lnTo>
                <a:lnTo>
                  <a:pt x="0" y="82"/>
                </a:lnTo>
                <a:lnTo>
                  <a:pt x="0" y="1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 name="Picture Placeholder 3"/>
          <p:cNvSpPr>
            <a:spLocks noGrp="1"/>
          </p:cNvSpPr>
          <p:nvPr>
            <p:ph type="pic" sz="quarter" idx="10"/>
          </p:nvPr>
        </p:nvSpPr>
        <p:spPr>
          <a:xfrm>
            <a:off x="1603" y="0"/>
            <a:ext cx="4680000" cy="6858000"/>
          </a:xfrm>
          <a:prstGeom prst="rect">
            <a:avLst/>
          </a:prstGeom>
          <a:solidFill>
            <a:schemeClr val="bg2"/>
          </a:solidFill>
        </p:spPr>
        <p:txBody>
          <a:bodyPr tIns="2628000" rtlCol="0">
            <a:normAutofit/>
          </a:bodyPr>
          <a:lstStyle>
            <a:lvl1pPr marL="0" indent="0" algn="ctr">
              <a:buNone/>
              <a:defRPr>
                <a:solidFill>
                  <a:srgbClr val="000000"/>
                </a:solidFill>
              </a:defRPr>
            </a:lvl1pPr>
          </a:lstStyle>
          <a:p>
            <a:pPr lvl="0"/>
            <a:r>
              <a:rPr lang="en-US" noProof="0"/>
              <a:t>Click icon to add picture</a:t>
            </a:r>
            <a:endParaRPr lang="en-US" noProof="0" dirty="0"/>
          </a:p>
        </p:txBody>
      </p:sp>
      <p:sp>
        <p:nvSpPr>
          <p:cNvPr id="8" name="Text Placeholder 5"/>
          <p:cNvSpPr>
            <a:spLocks noGrp="1"/>
          </p:cNvSpPr>
          <p:nvPr>
            <p:ph type="body" sz="quarter" idx="11"/>
          </p:nvPr>
        </p:nvSpPr>
        <p:spPr>
          <a:xfrm>
            <a:off x="5396948" y="1989138"/>
            <a:ext cx="4989443" cy="1260000"/>
          </a:xfrm>
          <a:prstGeom prst="rect">
            <a:avLst/>
          </a:prstGeom>
        </p:spPr>
        <p:txBody>
          <a:bodyPr>
            <a:noAutofit/>
          </a:bodyPr>
          <a:lstStyle>
            <a:lvl1pPr marL="0" indent="0">
              <a:lnSpc>
                <a:spcPct val="100000"/>
              </a:lnSpc>
              <a:spcBef>
                <a:spcPts val="0"/>
              </a:spcBef>
              <a:buNone/>
              <a:defRPr sz="3600" b="1" baseline="0">
                <a:solidFill>
                  <a:schemeClr val="bg1"/>
                </a:solidFill>
              </a:defRPr>
            </a:lvl1pPr>
          </a:lstStyle>
          <a:p>
            <a:pPr lvl="0"/>
            <a:r>
              <a:rPr lang="en-US" noProof="0"/>
              <a:t>Click to edit Master text styles</a:t>
            </a:r>
          </a:p>
        </p:txBody>
      </p:sp>
      <p:sp>
        <p:nvSpPr>
          <p:cNvPr id="11" name="Text Placeholder 5"/>
          <p:cNvSpPr>
            <a:spLocks noGrp="1"/>
          </p:cNvSpPr>
          <p:nvPr>
            <p:ph type="body" sz="quarter" idx="13"/>
          </p:nvPr>
        </p:nvSpPr>
        <p:spPr>
          <a:xfrm>
            <a:off x="5396948" y="3438933"/>
            <a:ext cx="4989443" cy="427383"/>
          </a:xfrm>
          <a:prstGeom prst="rect">
            <a:avLst/>
          </a:prstGeom>
        </p:spPr>
        <p:txBody>
          <a:bodyPr>
            <a:noAutofit/>
          </a:bodyPr>
          <a:lstStyle>
            <a:lvl1pPr marL="0" indent="0">
              <a:lnSpc>
                <a:spcPct val="100000"/>
              </a:lnSpc>
              <a:spcBef>
                <a:spcPts val="0"/>
              </a:spcBef>
              <a:buNone/>
              <a:defRPr sz="2400" b="1" baseline="0">
                <a:solidFill>
                  <a:schemeClr val="bg1"/>
                </a:solidFill>
              </a:defRPr>
            </a:lvl1pPr>
          </a:lstStyle>
          <a:p>
            <a:pPr lvl="0"/>
            <a:r>
              <a:rPr lang="en-US" noProof="0"/>
              <a:t>Click to edit Master text styles</a:t>
            </a:r>
          </a:p>
        </p:txBody>
      </p:sp>
      <p:sp>
        <p:nvSpPr>
          <p:cNvPr id="12" name="Text Placeholder 5"/>
          <p:cNvSpPr>
            <a:spLocks noGrp="1"/>
          </p:cNvSpPr>
          <p:nvPr>
            <p:ph type="body" sz="quarter" idx="14"/>
          </p:nvPr>
        </p:nvSpPr>
        <p:spPr>
          <a:xfrm>
            <a:off x="5396948" y="3856378"/>
            <a:ext cx="4989443" cy="1449802"/>
          </a:xfrm>
          <a:prstGeom prst="rect">
            <a:avLst/>
          </a:prstGeom>
        </p:spPr>
        <p:txBody>
          <a:bodyPr>
            <a:noAutofit/>
          </a:bodyPr>
          <a:lstStyle>
            <a:lvl1pPr marL="0" indent="0">
              <a:lnSpc>
                <a:spcPct val="100000"/>
              </a:lnSpc>
              <a:spcBef>
                <a:spcPts val="0"/>
              </a:spcBef>
              <a:spcAft>
                <a:spcPts val="1200"/>
              </a:spcAft>
              <a:buNone/>
              <a:defRPr sz="1800" b="0" baseline="0">
                <a:solidFill>
                  <a:schemeClr val="bg1"/>
                </a:solidFill>
              </a:defRPr>
            </a:lvl1pPr>
          </a:lstStyle>
          <a:p>
            <a:pPr lvl="0"/>
            <a:r>
              <a:rPr lang="en-US" noProof="0"/>
              <a:t>Click to edit Master text styles</a:t>
            </a:r>
          </a:p>
        </p:txBody>
      </p:sp>
      <p:sp>
        <p:nvSpPr>
          <p:cNvPr id="4" name="Slide Number Placeholder 3">
            <a:extLst>
              <a:ext uri="{FF2B5EF4-FFF2-40B4-BE49-F238E27FC236}">
                <a16:creationId xmlns:a16="http://schemas.microsoft.com/office/drawing/2014/main" id="{7096A01B-D9B6-98CB-000F-4C7701EE11E3}"/>
              </a:ext>
            </a:extLst>
          </p:cNvPr>
          <p:cNvSpPr>
            <a:spLocks noGrp="1"/>
          </p:cNvSpPr>
          <p:nvPr>
            <p:ph type="sldNum" sz="quarter" idx="15"/>
          </p:nvPr>
        </p:nvSpPr>
        <p:spPr/>
        <p:txBody>
          <a:bodyPr/>
          <a:lstStyle>
            <a:lvl1pPr algn="r">
              <a:defRPr sz="1000">
                <a:solidFill>
                  <a:schemeClr val="bg1"/>
                </a:solidFill>
              </a:defRPr>
            </a:lvl1pPr>
          </a:lstStyle>
          <a:p>
            <a:pPr>
              <a:defRPr/>
            </a:pPr>
            <a:fld id="{ED211C54-1555-4F60-A682-929C77CD1F30}" type="slidenum">
              <a:rPr lang="en-GB"/>
              <a:pPr>
                <a:defRPr/>
              </a:pPr>
              <a:t>‹#›</a:t>
            </a:fld>
            <a:endParaRPr lang="en-GB" dirty="0"/>
          </a:p>
        </p:txBody>
      </p:sp>
    </p:spTree>
    <p:extLst>
      <p:ext uri="{BB962C8B-B14F-4D97-AF65-F5344CB8AC3E}">
        <p14:creationId xmlns:p14="http://schemas.microsoft.com/office/powerpoint/2010/main" val="2582216552"/>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xt+right_image_partial">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1989138"/>
            <a:ext cx="6099386" cy="4319588"/>
          </a:xfrm>
          <a:prstGeom prst="rect">
            <a:avLst/>
          </a:prstGeom>
          <a:solidFill>
            <a:schemeClr val="bg2"/>
          </a:solidFill>
          <a:ln>
            <a:noFill/>
          </a:ln>
        </p:spPr>
        <p:txBody>
          <a:bodyPr tIns="1368000" rtlCol="0">
            <a:normAutofit/>
          </a:bodyPr>
          <a:lstStyle>
            <a:lvl1pPr marL="0" indent="0" algn="ctr">
              <a:buNone/>
              <a:defRPr sz="1800">
                <a:solidFill>
                  <a:srgbClr val="000000"/>
                </a:solidFill>
              </a:defRPr>
            </a:lvl1pPr>
          </a:lstStyle>
          <a:p>
            <a:pPr lvl="0"/>
            <a:r>
              <a:rPr lang="en-US" noProof="0"/>
              <a:t>Click icon to add picture</a:t>
            </a:r>
            <a:endParaRPr lang="en-US" noProof="0" dirty="0"/>
          </a:p>
        </p:txBody>
      </p:sp>
      <p:sp>
        <p:nvSpPr>
          <p:cNvPr id="8" name="Titel 4"/>
          <p:cNvSpPr>
            <a:spLocks noGrp="1"/>
          </p:cNvSpPr>
          <p:nvPr>
            <p:ph type="title"/>
          </p:nvPr>
        </p:nvSpPr>
        <p:spPr>
          <a:xfrm>
            <a:off x="553321" y="550779"/>
            <a:ext cx="8314454" cy="864136"/>
          </a:xfrm>
        </p:spPr>
        <p:txBody>
          <a:bodyPr/>
          <a:lstStyle/>
          <a:p>
            <a:pPr lvl="0"/>
            <a:r>
              <a:rPr lang="en-US" noProof="0"/>
              <a:t>Click to edit Master title style</a:t>
            </a:r>
            <a:endParaRPr lang="de-DE" dirty="0"/>
          </a:p>
        </p:txBody>
      </p:sp>
      <p:sp>
        <p:nvSpPr>
          <p:cNvPr id="5" name="Textplatzhalter 4"/>
          <p:cNvSpPr>
            <a:spLocks noGrp="1"/>
          </p:cNvSpPr>
          <p:nvPr>
            <p:ph type="body" sz="quarter" idx="16"/>
          </p:nvPr>
        </p:nvSpPr>
        <p:spPr>
          <a:xfrm>
            <a:off x="550863" y="1989139"/>
            <a:ext cx="5009021" cy="4321174"/>
          </a:xfrm>
        </p:spPr>
        <p:txBody>
          <a:bodyPr>
            <a:noAutofit/>
          </a:bodyPr>
          <a:lstStyle>
            <a:lvl1pPr>
              <a:spcAft>
                <a:spcPts val="1200"/>
              </a:spcAft>
              <a:defRPr/>
            </a:lvl1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AB9A8907-E857-439C-DF1A-9EBC2C5471C3}"/>
              </a:ext>
            </a:extLst>
          </p:cNvPr>
          <p:cNvSpPr>
            <a:spLocks noGrp="1"/>
          </p:cNvSpPr>
          <p:nvPr>
            <p:ph type="sldNum" sz="quarter" idx="17"/>
          </p:nvPr>
        </p:nvSpPr>
        <p:spPr/>
        <p:txBody>
          <a:bodyPr/>
          <a:lstStyle>
            <a:lvl1pPr algn="r">
              <a:defRPr sz="1000">
                <a:solidFill>
                  <a:srgbClr val="000000"/>
                </a:solidFill>
              </a:defRPr>
            </a:lvl1pPr>
          </a:lstStyle>
          <a:p>
            <a:pPr>
              <a:defRPr/>
            </a:pPr>
            <a:fld id="{7D6212E1-ECEF-465A-9DD9-795B6EA0AE5D}" type="slidenum">
              <a:rPr lang="en-GB"/>
              <a:pPr>
                <a:defRPr/>
              </a:pPr>
              <a:t>‹#›</a:t>
            </a:fld>
            <a:endParaRPr lang="en-GB" dirty="0"/>
          </a:p>
        </p:txBody>
      </p:sp>
    </p:spTree>
    <p:extLst>
      <p:ext uri="{BB962C8B-B14F-4D97-AF65-F5344CB8AC3E}">
        <p14:creationId xmlns:p14="http://schemas.microsoft.com/office/powerpoint/2010/main" val="1723596756"/>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Lower_TextMsg_BlueBG+top_image_light">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4113" y="0"/>
            <a:ext cx="12193200" cy="4868863"/>
          </a:xfrm>
          <a:prstGeom prst="rect">
            <a:avLst/>
          </a:prstGeom>
          <a:solidFill>
            <a:schemeClr val="bg2"/>
          </a:solidFill>
        </p:spPr>
        <p:txBody>
          <a:bodyPr tIns="1764000" rtlCol="0">
            <a:normAutofit/>
          </a:bodyPr>
          <a:lstStyle>
            <a:lvl1pPr marL="0" indent="0" algn="ctr">
              <a:buNone/>
              <a:defRPr>
                <a:solidFill>
                  <a:srgbClr val="000000"/>
                </a:solidFill>
              </a:defRPr>
            </a:lvl1pPr>
          </a:lstStyle>
          <a:p>
            <a:pPr lvl="0"/>
            <a:r>
              <a:rPr lang="en-US" noProof="0"/>
              <a:t>Click icon to add picture</a:t>
            </a:r>
            <a:endParaRPr lang="en-US" noProof="0" dirty="0"/>
          </a:p>
        </p:txBody>
      </p:sp>
      <p:sp>
        <p:nvSpPr>
          <p:cNvPr id="11" name="Text Placeholder 5"/>
          <p:cNvSpPr>
            <a:spLocks noGrp="1"/>
          </p:cNvSpPr>
          <p:nvPr>
            <p:ph type="body" sz="quarter" idx="11"/>
          </p:nvPr>
        </p:nvSpPr>
        <p:spPr>
          <a:xfrm>
            <a:off x="-1" y="4868863"/>
            <a:ext cx="12189087" cy="1989136"/>
          </a:xfrm>
          <a:prstGeom prst="rect">
            <a:avLst/>
          </a:prstGeom>
          <a:solidFill>
            <a:schemeClr val="tx1"/>
          </a:solidFill>
        </p:spPr>
        <p:txBody>
          <a:bodyPr lIns="540000" tIns="180000" rIns="540000" bIns="180000" anchor="ctr">
            <a:noAutofit/>
          </a:bodyPr>
          <a:lstStyle>
            <a:lvl1pPr marL="0" indent="0">
              <a:lnSpc>
                <a:spcPct val="100000"/>
              </a:lnSpc>
              <a:spcBef>
                <a:spcPts val="0"/>
              </a:spcBef>
              <a:buNone/>
              <a:defRPr sz="2400" b="1" baseline="0">
                <a:solidFill>
                  <a:schemeClr val="bg1"/>
                </a:solidFill>
              </a:defRPr>
            </a:lvl1pPr>
          </a:lstStyle>
          <a:p>
            <a:pPr lvl="0"/>
            <a:r>
              <a:rPr lang="en-US" noProof="0"/>
              <a:t>Click to edit Master text styles</a:t>
            </a:r>
          </a:p>
        </p:txBody>
      </p:sp>
      <p:sp>
        <p:nvSpPr>
          <p:cNvPr id="7"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2" name="Slide Number Placeholder 3">
            <a:extLst>
              <a:ext uri="{FF2B5EF4-FFF2-40B4-BE49-F238E27FC236}">
                <a16:creationId xmlns:a16="http://schemas.microsoft.com/office/drawing/2014/main" id="{BEB9E797-DB01-4551-4DFB-778115F18861}"/>
              </a:ext>
            </a:extLst>
          </p:cNvPr>
          <p:cNvSpPr>
            <a:spLocks noGrp="1"/>
          </p:cNvSpPr>
          <p:nvPr>
            <p:ph type="sldNum" sz="quarter" idx="17"/>
          </p:nvPr>
        </p:nvSpPr>
        <p:spPr/>
        <p:txBody>
          <a:bodyPr/>
          <a:lstStyle>
            <a:lvl1pPr algn="r">
              <a:defRPr sz="1000">
                <a:solidFill>
                  <a:schemeClr val="bg1"/>
                </a:solidFill>
              </a:defRPr>
            </a:lvl1pPr>
          </a:lstStyle>
          <a:p>
            <a:pPr>
              <a:defRPr/>
            </a:pPr>
            <a:fld id="{45D60965-B735-451D-896A-23C48558B9A6}" type="slidenum">
              <a:rPr lang="en-CA"/>
              <a:pPr>
                <a:defRPr/>
              </a:pPr>
              <a:t>‹#›</a:t>
            </a:fld>
            <a:endParaRPr lang="en-CA" dirty="0"/>
          </a:p>
        </p:txBody>
      </p:sp>
    </p:spTree>
    <p:extLst>
      <p:ext uri="{BB962C8B-B14F-4D97-AF65-F5344CB8AC3E}">
        <p14:creationId xmlns:p14="http://schemas.microsoft.com/office/powerpoint/2010/main" val="1855147305"/>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Lower_TextMsg_BlueBG+top_image_dark">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0" y="0"/>
            <a:ext cx="12193200" cy="4868863"/>
          </a:xfrm>
          <a:prstGeom prst="rect">
            <a:avLst/>
          </a:prstGeom>
          <a:solidFill>
            <a:schemeClr val="accent6"/>
          </a:solidFill>
        </p:spPr>
        <p:txBody>
          <a:bodyPr tIns="1764000" rtlCol="0">
            <a:normAutofit/>
          </a:bodyPr>
          <a:lstStyle>
            <a:lvl1pPr marL="0" indent="0" algn="ctr">
              <a:buNone/>
              <a:defRPr>
                <a:solidFill>
                  <a:schemeClr val="bg1"/>
                </a:solidFill>
              </a:defRPr>
            </a:lvl1pPr>
          </a:lstStyle>
          <a:p>
            <a:pPr lvl="0"/>
            <a:r>
              <a:rPr lang="en-US" noProof="0"/>
              <a:t>Click icon to add picture</a:t>
            </a:r>
            <a:endParaRPr lang="en-US" noProof="0" dirty="0"/>
          </a:p>
        </p:txBody>
      </p:sp>
      <p:sp>
        <p:nvSpPr>
          <p:cNvPr id="6"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7" name="Text Placeholder 5"/>
          <p:cNvSpPr>
            <a:spLocks noGrp="1"/>
          </p:cNvSpPr>
          <p:nvPr>
            <p:ph type="body" sz="quarter" idx="11"/>
          </p:nvPr>
        </p:nvSpPr>
        <p:spPr>
          <a:xfrm>
            <a:off x="-1" y="4868863"/>
            <a:ext cx="12189087" cy="1989136"/>
          </a:xfrm>
          <a:prstGeom prst="rect">
            <a:avLst/>
          </a:prstGeom>
          <a:solidFill>
            <a:schemeClr val="tx1"/>
          </a:solidFill>
        </p:spPr>
        <p:txBody>
          <a:bodyPr lIns="540000" tIns="180000" rIns="540000" bIns="180000" anchor="ctr">
            <a:noAutofit/>
          </a:bodyPr>
          <a:lstStyle>
            <a:lvl1pPr marL="0" indent="0">
              <a:lnSpc>
                <a:spcPct val="100000"/>
              </a:lnSpc>
              <a:spcBef>
                <a:spcPts val="0"/>
              </a:spcBef>
              <a:buNone/>
              <a:defRPr sz="2400" b="1" baseline="0">
                <a:solidFill>
                  <a:schemeClr val="bg1"/>
                </a:solidFill>
              </a:defRPr>
            </a:lvl1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A2E8DCFE-221B-8FBF-E4AE-361750F415E4}"/>
              </a:ext>
            </a:extLst>
          </p:cNvPr>
          <p:cNvSpPr>
            <a:spLocks noGrp="1"/>
          </p:cNvSpPr>
          <p:nvPr>
            <p:ph type="sldNum" sz="quarter" idx="17"/>
          </p:nvPr>
        </p:nvSpPr>
        <p:spPr/>
        <p:txBody>
          <a:bodyPr/>
          <a:lstStyle>
            <a:lvl1pPr algn="r">
              <a:defRPr sz="1000">
                <a:solidFill>
                  <a:schemeClr val="bg1"/>
                </a:solidFill>
              </a:defRPr>
            </a:lvl1pPr>
          </a:lstStyle>
          <a:p>
            <a:pPr>
              <a:defRPr/>
            </a:pPr>
            <a:fld id="{BF01F248-A33C-44B8-A0DC-6F0DD6364460}" type="slidenum">
              <a:rPr lang="en-CA"/>
              <a:pPr>
                <a:defRPr/>
              </a:pPr>
              <a:t>‹#›</a:t>
            </a:fld>
            <a:endParaRPr lang="en-CA" dirty="0"/>
          </a:p>
        </p:txBody>
      </p:sp>
    </p:spTree>
    <p:extLst>
      <p:ext uri="{BB962C8B-B14F-4D97-AF65-F5344CB8AC3E}">
        <p14:creationId xmlns:p14="http://schemas.microsoft.com/office/powerpoint/2010/main" val="2294021605"/>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ext+lower_image">
    <p:spTree>
      <p:nvGrpSpPr>
        <p:cNvPr id="1" name=""/>
        <p:cNvGrpSpPr/>
        <p:nvPr/>
      </p:nvGrpSpPr>
      <p:grpSpPr>
        <a:xfrm>
          <a:off x="0" y="0"/>
          <a:ext cx="0" cy="0"/>
          <a:chOff x="0" y="0"/>
          <a:chExt cx="0" cy="0"/>
        </a:xfrm>
      </p:grpSpPr>
      <p:sp>
        <p:nvSpPr>
          <p:cNvPr id="9" name="Picture Placeholder 3"/>
          <p:cNvSpPr>
            <a:spLocks noGrp="1"/>
          </p:cNvSpPr>
          <p:nvPr>
            <p:ph type="pic" sz="quarter" idx="10"/>
          </p:nvPr>
        </p:nvSpPr>
        <p:spPr>
          <a:xfrm>
            <a:off x="0" y="3429000"/>
            <a:ext cx="12195386" cy="3420138"/>
          </a:xfrm>
          <a:prstGeom prst="rect">
            <a:avLst/>
          </a:prstGeom>
          <a:solidFill>
            <a:schemeClr val="bg2"/>
          </a:solidFill>
          <a:ln>
            <a:noFill/>
          </a:ln>
        </p:spPr>
        <p:txBody>
          <a:bodyPr tIns="1224000" rtlCol="0">
            <a:normAutofit/>
          </a:bodyPr>
          <a:lstStyle>
            <a:lvl1pPr marL="0" indent="0" algn="ctr">
              <a:buNone/>
              <a:defRPr>
                <a:solidFill>
                  <a:srgbClr val="000000"/>
                </a:solidFill>
              </a:defRPr>
            </a:lvl1pPr>
          </a:lstStyle>
          <a:p>
            <a:pPr lvl="0"/>
            <a:r>
              <a:rPr lang="en-US" noProof="0"/>
              <a:t>Click icon to add picture</a:t>
            </a:r>
            <a:endParaRPr lang="en-US" noProof="0" dirty="0"/>
          </a:p>
        </p:txBody>
      </p:sp>
      <p:sp>
        <p:nvSpPr>
          <p:cNvPr id="8" name="Titel 4"/>
          <p:cNvSpPr>
            <a:spLocks noGrp="1"/>
          </p:cNvSpPr>
          <p:nvPr>
            <p:ph type="title"/>
          </p:nvPr>
        </p:nvSpPr>
        <p:spPr>
          <a:xfrm>
            <a:off x="553321" y="550779"/>
            <a:ext cx="8314454" cy="864136"/>
          </a:xfrm>
        </p:spPr>
        <p:txBody>
          <a:bodyPr/>
          <a:lstStyle/>
          <a:p>
            <a:pPr lvl="0"/>
            <a:r>
              <a:rPr lang="en-US" noProof="0"/>
              <a:t>Click to edit Master title style</a:t>
            </a:r>
            <a:endParaRPr lang="de-DE" dirty="0"/>
          </a:p>
        </p:txBody>
      </p:sp>
      <p:sp>
        <p:nvSpPr>
          <p:cNvPr id="4" name="Textplatzhalter 3"/>
          <p:cNvSpPr>
            <a:spLocks noGrp="1"/>
          </p:cNvSpPr>
          <p:nvPr>
            <p:ph type="body" sz="quarter" idx="13"/>
          </p:nvPr>
        </p:nvSpPr>
        <p:spPr>
          <a:xfrm>
            <a:off x="550864" y="1990800"/>
            <a:ext cx="8316911" cy="1167502"/>
          </a:xfrm>
        </p:spPr>
        <p:txBody>
          <a:bodyPr>
            <a:noAutofit/>
          </a:bodyPr>
          <a:lstStyle>
            <a:lvl1pPr>
              <a:spcAft>
                <a:spcPts val="1200"/>
              </a:spcAft>
              <a:defRPr/>
            </a:lvl1pPr>
          </a:lstStyle>
          <a:p>
            <a:pPr lvl="0"/>
            <a:r>
              <a:rPr lang="en-US" noProof="0"/>
              <a:t>Click to edit Master text styles</a:t>
            </a:r>
          </a:p>
          <a:p>
            <a:pPr lvl="1"/>
            <a:r>
              <a:rPr lang="en-US" noProof="0"/>
              <a:t>Second level</a:t>
            </a:r>
          </a:p>
        </p:txBody>
      </p:sp>
      <p:sp>
        <p:nvSpPr>
          <p:cNvPr id="2" name="Slide Number Placeholder 3">
            <a:extLst>
              <a:ext uri="{FF2B5EF4-FFF2-40B4-BE49-F238E27FC236}">
                <a16:creationId xmlns:a16="http://schemas.microsoft.com/office/drawing/2014/main" id="{46E4BC71-6B32-097E-633E-D3B161BE2DE0}"/>
              </a:ext>
            </a:extLst>
          </p:cNvPr>
          <p:cNvSpPr>
            <a:spLocks noGrp="1"/>
          </p:cNvSpPr>
          <p:nvPr>
            <p:ph type="sldNum" sz="quarter" idx="14"/>
          </p:nvPr>
        </p:nvSpPr>
        <p:spPr/>
        <p:txBody>
          <a:bodyPr/>
          <a:lstStyle>
            <a:lvl1pPr algn="r">
              <a:defRPr sz="1000">
                <a:solidFill>
                  <a:srgbClr val="000000"/>
                </a:solidFill>
              </a:defRPr>
            </a:lvl1pPr>
          </a:lstStyle>
          <a:p>
            <a:pPr>
              <a:defRPr/>
            </a:pPr>
            <a:fld id="{E7F0A787-A212-4AEE-944F-14AF2D22577A}" type="slidenum">
              <a:rPr lang="en-GB"/>
              <a:pPr>
                <a:defRPr/>
              </a:pPr>
              <a:t>‹#›</a:t>
            </a:fld>
            <a:endParaRPr lang="en-GB" dirty="0"/>
          </a:p>
        </p:txBody>
      </p:sp>
    </p:spTree>
    <p:extLst>
      <p:ext uri="{BB962C8B-B14F-4D97-AF65-F5344CB8AC3E}">
        <p14:creationId xmlns:p14="http://schemas.microsoft.com/office/powerpoint/2010/main" val="3362917617"/>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xt+2lower_images">
    <p:spTree>
      <p:nvGrpSpPr>
        <p:cNvPr id="1" name=""/>
        <p:cNvGrpSpPr/>
        <p:nvPr/>
      </p:nvGrpSpPr>
      <p:grpSpPr>
        <a:xfrm>
          <a:off x="0" y="0"/>
          <a:ext cx="0" cy="0"/>
          <a:chOff x="0" y="0"/>
          <a:chExt cx="0" cy="0"/>
        </a:xfrm>
      </p:grpSpPr>
      <p:sp>
        <p:nvSpPr>
          <p:cNvPr id="9" name="Picture Placeholder 3"/>
          <p:cNvSpPr>
            <a:spLocks noGrp="1"/>
          </p:cNvSpPr>
          <p:nvPr>
            <p:ph type="pic" sz="quarter" idx="10"/>
          </p:nvPr>
        </p:nvSpPr>
        <p:spPr>
          <a:xfrm>
            <a:off x="1" y="3429000"/>
            <a:ext cx="6096000" cy="3420138"/>
          </a:xfrm>
          <a:prstGeom prst="rect">
            <a:avLst/>
          </a:prstGeom>
          <a:solidFill>
            <a:schemeClr val="bg2"/>
          </a:solidFill>
          <a:ln>
            <a:noFill/>
          </a:ln>
        </p:spPr>
        <p:txBody>
          <a:bodyPr tIns="1224000" rtlCol="0">
            <a:normAutofit/>
          </a:bodyPr>
          <a:lstStyle>
            <a:lvl1pPr marL="0" indent="0" algn="ctr">
              <a:buNone/>
              <a:defRPr sz="1800">
                <a:solidFill>
                  <a:srgbClr val="000000"/>
                </a:solidFill>
              </a:defRPr>
            </a:lvl1pPr>
          </a:lstStyle>
          <a:p>
            <a:pPr lvl="0"/>
            <a:r>
              <a:rPr lang="en-US" noProof="0"/>
              <a:t>Click icon to add picture</a:t>
            </a:r>
            <a:endParaRPr lang="en-US" noProof="0" dirty="0"/>
          </a:p>
        </p:txBody>
      </p:sp>
      <p:sp>
        <p:nvSpPr>
          <p:cNvPr id="7" name="Picture Placeholder 3"/>
          <p:cNvSpPr>
            <a:spLocks noGrp="1"/>
          </p:cNvSpPr>
          <p:nvPr>
            <p:ph type="pic" sz="quarter" idx="16"/>
          </p:nvPr>
        </p:nvSpPr>
        <p:spPr>
          <a:xfrm>
            <a:off x="6096001" y="3429000"/>
            <a:ext cx="6095999" cy="3420138"/>
          </a:xfrm>
          <a:prstGeom prst="rect">
            <a:avLst/>
          </a:prstGeom>
          <a:solidFill>
            <a:schemeClr val="bg2"/>
          </a:solidFill>
          <a:ln>
            <a:noFill/>
          </a:ln>
        </p:spPr>
        <p:txBody>
          <a:bodyPr tIns="1224000" rtlCol="0">
            <a:normAutofit/>
          </a:bodyPr>
          <a:lstStyle>
            <a:lvl1pPr marL="0" indent="0" algn="ctr">
              <a:buNone/>
              <a:defRPr sz="1800">
                <a:solidFill>
                  <a:srgbClr val="000000"/>
                </a:solidFill>
              </a:defRPr>
            </a:lvl1pPr>
          </a:lstStyle>
          <a:p>
            <a:pPr lvl="0"/>
            <a:r>
              <a:rPr lang="en-US" noProof="0"/>
              <a:t>Click icon to add picture</a:t>
            </a:r>
            <a:endParaRPr lang="en-US" noProof="0" dirty="0"/>
          </a:p>
        </p:txBody>
      </p:sp>
      <p:sp>
        <p:nvSpPr>
          <p:cNvPr id="8" name="Titel 4"/>
          <p:cNvSpPr>
            <a:spLocks noGrp="1"/>
          </p:cNvSpPr>
          <p:nvPr>
            <p:ph type="title"/>
          </p:nvPr>
        </p:nvSpPr>
        <p:spPr>
          <a:xfrm>
            <a:off x="553321" y="550779"/>
            <a:ext cx="8314454" cy="864136"/>
          </a:xfrm>
        </p:spPr>
        <p:txBody>
          <a:bodyPr/>
          <a:lstStyle/>
          <a:p>
            <a:pPr lvl="0"/>
            <a:r>
              <a:rPr lang="en-US" noProof="0"/>
              <a:t>Click to edit Master title style</a:t>
            </a:r>
            <a:endParaRPr lang="de-DE" dirty="0"/>
          </a:p>
        </p:txBody>
      </p:sp>
      <p:sp>
        <p:nvSpPr>
          <p:cNvPr id="5" name="Textplatzhalter 4"/>
          <p:cNvSpPr>
            <a:spLocks noGrp="1"/>
          </p:cNvSpPr>
          <p:nvPr>
            <p:ph type="body" sz="quarter" idx="17"/>
          </p:nvPr>
        </p:nvSpPr>
        <p:spPr>
          <a:xfrm>
            <a:off x="550864" y="1990800"/>
            <a:ext cx="8316911" cy="1167502"/>
          </a:xfrm>
        </p:spPr>
        <p:txBody>
          <a:bodyPr>
            <a:noAutofit/>
          </a:bodyPr>
          <a:lstStyle>
            <a:lvl1pPr>
              <a:spcAft>
                <a:spcPts val="1200"/>
              </a:spcAft>
              <a:defRPr baseline="0"/>
            </a:lvl1pPr>
          </a:lstStyle>
          <a:p>
            <a:pPr lvl="0"/>
            <a:r>
              <a:rPr lang="en-US" noProof="0"/>
              <a:t>Click to edit Master text styles</a:t>
            </a:r>
          </a:p>
          <a:p>
            <a:pPr lvl="1"/>
            <a:r>
              <a:rPr lang="en-US" noProof="0"/>
              <a:t>Second level</a:t>
            </a:r>
          </a:p>
        </p:txBody>
      </p:sp>
      <p:sp>
        <p:nvSpPr>
          <p:cNvPr id="2" name="Slide Number Placeholder 3">
            <a:extLst>
              <a:ext uri="{FF2B5EF4-FFF2-40B4-BE49-F238E27FC236}">
                <a16:creationId xmlns:a16="http://schemas.microsoft.com/office/drawing/2014/main" id="{E5F7FC76-DF9E-1F32-D588-0E01886B6C83}"/>
              </a:ext>
            </a:extLst>
          </p:cNvPr>
          <p:cNvSpPr>
            <a:spLocks noGrp="1"/>
          </p:cNvSpPr>
          <p:nvPr>
            <p:ph type="sldNum" sz="quarter" idx="18"/>
          </p:nvPr>
        </p:nvSpPr>
        <p:spPr/>
        <p:txBody>
          <a:bodyPr/>
          <a:lstStyle>
            <a:lvl1pPr algn="r">
              <a:defRPr sz="1000">
                <a:solidFill>
                  <a:srgbClr val="000000"/>
                </a:solidFill>
              </a:defRPr>
            </a:lvl1pPr>
          </a:lstStyle>
          <a:p>
            <a:pPr>
              <a:defRPr/>
            </a:pPr>
            <a:fld id="{47443AE9-8068-4BE5-9EBD-642DC4637F40}" type="slidenum">
              <a:rPr lang="en-GB"/>
              <a:pPr>
                <a:defRPr/>
              </a:pPr>
              <a:t>‹#›</a:t>
            </a:fld>
            <a:endParaRPr lang="en-GB" dirty="0"/>
          </a:p>
        </p:txBody>
      </p:sp>
    </p:spTree>
    <p:extLst>
      <p:ext uri="{BB962C8B-B14F-4D97-AF65-F5344CB8AC3E}">
        <p14:creationId xmlns:p14="http://schemas.microsoft.com/office/powerpoint/2010/main" val="563243908"/>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_slide_dark_image_V3">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8EE4496F-A5A2-9EFD-28B7-F56280A2262A}"/>
              </a:ext>
            </a:extLst>
          </p:cNvPr>
          <p:cNvSpPr>
            <a:spLocks noEditPoints="1"/>
          </p:cNvSpPr>
          <p:nvPr/>
        </p:nvSpPr>
        <p:spPr bwMode="auto">
          <a:xfrm>
            <a:off x="8850313" y="568325"/>
            <a:ext cx="2767012" cy="554038"/>
          </a:xfrm>
          <a:custGeom>
            <a:avLst/>
            <a:gdLst>
              <a:gd name="T0" fmla="*/ 2486025 w 1743"/>
              <a:gd name="T1" fmla="*/ 163513 h 349"/>
              <a:gd name="T2" fmla="*/ 2508250 w 1743"/>
              <a:gd name="T3" fmla="*/ 209550 h 349"/>
              <a:gd name="T4" fmla="*/ 2459037 w 1743"/>
              <a:gd name="T5" fmla="*/ 188913 h 349"/>
              <a:gd name="T6" fmla="*/ 2390775 w 1743"/>
              <a:gd name="T7" fmla="*/ 536575 h 349"/>
              <a:gd name="T8" fmla="*/ 2538412 w 1743"/>
              <a:gd name="T9" fmla="*/ 549275 h 349"/>
              <a:gd name="T10" fmla="*/ 2630487 w 1743"/>
              <a:gd name="T11" fmla="*/ 452438 h 349"/>
              <a:gd name="T12" fmla="*/ 2559050 w 1743"/>
              <a:gd name="T13" fmla="*/ 311150 h 349"/>
              <a:gd name="T14" fmla="*/ 2547937 w 1743"/>
              <a:gd name="T15" fmla="*/ 209550 h 349"/>
              <a:gd name="T16" fmla="*/ 2532062 w 1743"/>
              <a:gd name="T17" fmla="*/ 146050 h 349"/>
              <a:gd name="T18" fmla="*/ 2462212 w 1743"/>
              <a:gd name="T19" fmla="*/ 133350 h 349"/>
              <a:gd name="T20" fmla="*/ 2422525 w 1743"/>
              <a:gd name="T21" fmla="*/ 188913 h 349"/>
              <a:gd name="T22" fmla="*/ 2416175 w 1743"/>
              <a:gd name="T23" fmla="*/ 274638 h 349"/>
              <a:gd name="T24" fmla="*/ 2368550 w 1743"/>
              <a:gd name="T25" fmla="*/ 471488 h 349"/>
              <a:gd name="T26" fmla="*/ 2220912 w 1743"/>
              <a:gd name="T27" fmla="*/ 193675 h 349"/>
              <a:gd name="T28" fmla="*/ 2332037 w 1743"/>
              <a:gd name="T29" fmla="*/ 49213 h 349"/>
              <a:gd name="T30" fmla="*/ 2489200 w 1743"/>
              <a:gd name="T31" fmla="*/ 0 h 349"/>
              <a:gd name="T32" fmla="*/ 2663825 w 1743"/>
              <a:gd name="T33" fmla="*/ 63500 h 349"/>
              <a:gd name="T34" fmla="*/ 2762250 w 1743"/>
              <a:gd name="T35" fmla="*/ 219075 h 349"/>
              <a:gd name="T36" fmla="*/ 2747962 w 1743"/>
              <a:gd name="T37" fmla="*/ 371475 h 349"/>
              <a:gd name="T38" fmla="*/ 2674937 w 1743"/>
              <a:gd name="T39" fmla="*/ 403225 h 349"/>
              <a:gd name="T40" fmla="*/ 2716212 w 1743"/>
              <a:gd name="T41" fmla="*/ 274638 h 349"/>
              <a:gd name="T42" fmla="*/ 2676525 w 1743"/>
              <a:gd name="T43" fmla="*/ 147638 h 349"/>
              <a:gd name="T44" fmla="*/ 2554287 w 1743"/>
              <a:gd name="T45" fmla="*/ 58738 h 349"/>
              <a:gd name="T46" fmla="*/ 2420937 w 1743"/>
              <a:gd name="T47" fmla="*/ 58738 h 349"/>
              <a:gd name="T48" fmla="*/ 2300287 w 1743"/>
              <a:gd name="T49" fmla="*/ 147638 h 349"/>
              <a:gd name="T50" fmla="*/ 2262187 w 1743"/>
              <a:gd name="T51" fmla="*/ 274638 h 349"/>
              <a:gd name="T52" fmla="*/ 2300287 w 1743"/>
              <a:gd name="T53" fmla="*/ 403225 h 349"/>
              <a:gd name="T54" fmla="*/ 2227262 w 1743"/>
              <a:gd name="T55" fmla="*/ 371475 h 349"/>
              <a:gd name="T56" fmla="*/ 1968500 w 1743"/>
              <a:gd name="T57" fmla="*/ 188913 h 349"/>
              <a:gd name="T58" fmla="*/ 1935162 w 1743"/>
              <a:gd name="T59" fmla="*/ 361950 h 349"/>
              <a:gd name="T60" fmla="*/ 1852612 w 1743"/>
              <a:gd name="T61" fmla="*/ 228600 h 349"/>
              <a:gd name="T62" fmla="*/ 1612900 w 1743"/>
              <a:gd name="T63" fmla="*/ 257175 h 349"/>
              <a:gd name="T64" fmla="*/ 1695450 w 1743"/>
              <a:gd name="T65" fmla="*/ 184150 h 349"/>
              <a:gd name="T66" fmla="*/ 1762125 w 1743"/>
              <a:gd name="T67" fmla="*/ 219075 h 349"/>
              <a:gd name="T68" fmla="*/ 1704975 w 1743"/>
              <a:gd name="T69" fmla="*/ 223838 h 349"/>
              <a:gd name="T70" fmla="*/ 1663700 w 1743"/>
              <a:gd name="T71" fmla="*/ 246063 h 349"/>
              <a:gd name="T72" fmla="*/ 1673225 w 1743"/>
              <a:gd name="T73" fmla="*/ 320675 h 349"/>
              <a:gd name="T74" fmla="*/ 1727200 w 1743"/>
              <a:gd name="T75" fmla="*/ 298450 h 349"/>
              <a:gd name="T76" fmla="*/ 1736725 w 1743"/>
              <a:gd name="T77" fmla="*/ 361950 h 349"/>
              <a:gd name="T78" fmla="*/ 1635125 w 1743"/>
              <a:gd name="T79" fmla="*/ 344488 h 349"/>
              <a:gd name="T80" fmla="*/ 1512887 w 1743"/>
              <a:gd name="T81" fmla="*/ 234950 h 349"/>
              <a:gd name="T82" fmla="*/ 1557337 w 1743"/>
              <a:gd name="T83" fmla="*/ 361950 h 349"/>
              <a:gd name="T84" fmla="*/ 1293812 w 1743"/>
              <a:gd name="T85" fmla="*/ 260350 h 349"/>
              <a:gd name="T86" fmla="*/ 1252537 w 1743"/>
              <a:gd name="T87" fmla="*/ 188913 h 349"/>
              <a:gd name="T88" fmla="*/ 1150937 w 1743"/>
              <a:gd name="T89" fmla="*/ 271463 h 349"/>
              <a:gd name="T90" fmla="*/ 1057275 w 1743"/>
              <a:gd name="T91" fmla="*/ 293688 h 349"/>
              <a:gd name="T92" fmla="*/ 1022350 w 1743"/>
              <a:gd name="T93" fmla="*/ 257175 h 349"/>
              <a:gd name="T94" fmla="*/ 714375 w 1743"/>
              <a:gd name="T95" fmla="*/ 361950 h 349"/>
              <a:gd name="T96" fmla="*/ 825500 w 1743"/>
              <a:gd name="T97" fmla="*/ 292100 h 349"/>
              <a:gd name="T98" fmla="*/ 630237 w 1743"/>
              <a:gd name="T99" fmla="*/ 296863 h 349"/>
              <a:gd name="T100" fmla="*/ 568325 w 1743"/>
              <a:gd name="T101" fmla="*/ 188913 h 349"/>
              <a:gd name="T102" fmla="*/ 403225 w 1743"/>
              <a:gd name="T103" fmla="*/ 293688 h 349"/>
              <a:gd name="T104" fmla="*/ 358775 w 1743"/>
              <a:gd name="T105" fmla="*/ 188913 h 349"/>
              <a:gd name="T106" fmla="*/ 192087 w 1743"/>
              <a:gd name="T107" fmla="*/ 349250 h 349"/>
              <a:gd name="T108" fmla="*/ 273050 w 1743"/>
              <a:gd name="T109" fmla="*/ 365125 h 349"/>
              <a:gd name="T110" fmla="*/ 319087 w 1743"/>
              <a:gd name="T111" fmla="*/ 188913 h 349"/>
              <a:gd name="T112" fmla="*/ 246062 w 1743"/>
              <a:gd name="T113" fmla="*/ 328613 h 349"/>
              <a:gd name="T114" fmla="*/ 171450 w 1743"/>
              <a:gd name="T115" fmla="*/ 188913 h 349"/>
              <a:gd name="T116" fmla="*/ 153987 w 1743"/>
              <a:gd name="T117" fmla="*/ 361950 h 349"/>
              <a:gd name="T118" fmla="*/ 0 w 1743"/>
              <a:gd name="T119" fmla="*/ 361950 h 3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743" h="349">
                <a:moveTo>
                  <a:pt x="1549" y="119"/>
                </a:moveTo>
                <a:lnTo>
                  <a:pt x="1549" y="119"/>
                </a:lnTo>
                <a:lnTo>
                  <a:pt x="1551" y="113"/>
                </a:lnTo>
                <a:lnTo>
                  <a:pt x="1554" y="107"/>
                </a:lnTo>
                <a:lnTo>
                  <a:pt x="1560" y="104"/>
                </a:lnTo>
                <a:lnTo>
                  <a:pt x="1566" y="103"/>
                </a:lnTo>
                <a:lnTo>
                  <a:pt x="1574" y="104"/>
                </a:lnTo>
                <a:lnTo>
                  <a:pt x="1580" y="107"/>
                </a:lnTo>
                <a:lnTo>
                  <a:pt x="1583" y="113"/>
                </a:lnTo>
                <a:lnTo>
                  <a:pt x="1585" y="119"/>
                </a:lnTo>
                <a:lnTo>
                  <a:pt x="1583" y="127"/>
                </a:lnTo>
                <a:lnTo>
                  <a:pt x="1580" y="132"/>
                </a:lnTo>
                <a:lnTo>
                  <a:pt x="1574" y="136"/>
                </a:lnTo>
                <a:lnTo>
                  <a:pt x="1566" y="138"/>
                </a:lnTo>
                <a:lnTo>
                  <a:pt x="1560" y="136"/>
                </a:lnTo>
                <a:lnTo>
                  <a:pt x="1554" y="132"/>
                </a:lnTo>
                <a:lnTo>
                  <a:pt x="1551" y="127"/>
                </a:lnTo>
                <a:lnTo>
                  <a:pt x="1549" y="119"/>
                </a:lnTo>
                <a:close/>
                <a:moveTo>
                  <a:pt x="1454" y="308"/>
                </a:moveTo>
                <a:lnTo>
                  <a:pt x="1454" y="308"/>
                </a:lnTo>
                <a:lnTo>
                  <a:pt x="1466" y="317"/>
                </a:lnTo>
                <a:lnTo>
                  <a:pt x="1479" y="325"/>
                </a:lnTo>
                <a:lnTo>
                  <a:pt x="1492" y="332"/>
                </a:lnTo>
                <a:lnTo>
                  <a:pt x="1506" y="338"/>
                </a:lnTo>
                <a:lnTo>
                  <a:pt x="1522" y="343"/>
                </a:lnTo>
                <a:lnTo>
                  <a:pt x="1536" y="346"/>
                </a:lnTo>
                <a:lnTo>
                  <a:pt x="1551" y="347"/>
                </a:lnTo>
                <a:lnTo>
                  <a:pt x="1568" y="349"/>
                </a:lnTo>
                <a:lnTo>
                  <a:pt x="1583" y="347"/>
                </a:lnTo>
                <a:lnTo>
                  <a:pt x="1599" y="346"/>
                </a:lnTo>
                <a:lnTo>
                  <a:pt x="1612" y="343"/>
                </a:lnTo>
                <a:lnTo>
                  <a:pt x="1628" y="338"/>
                </a:lnTo>
                <a:lnTo>
                  <a:pt x="1642" y="332"/>
                </a:lnTo>
                <a:lnTo>
                  <a:pt x="1655" y="325"/>
                </a:lnTo>
                <a:lnTo>
                  <a:pt x="1668" y="317"/>
                </a:lnTo>
                <a:lnTo>
                  <a:pt x="1680" y="308"/>
                </a:lnTo>
                <a:lnTo>
                  <a:pt x="1657" y="285"/>
                </a:lnTo>
                <a:lnTo>
                  <a:pt x="1642" y="297"/>
                </a:lnTo>
                <a:lnTo>
                  <a:pt x="1623" y="308"/>
                </a:lnTo>
                <a:lnTo>
                  <a:pt x="1603" y="315"/>
                </a:lnTo>
                <a:lnTo>
                  <a:pt x="1583" y="318"/>
                </a:lnTo>
                <a:lnTo>
                  <a:pt x="1583" y="196"/>
                </a:lnTo>
                <a:lnTo>
                  <a:pt x="1612" y="196"/>
                </a:lnTo>
                <a:lnTo>
                  <a:pt x="1612" y="173"/>
                </a:lnTo>
                <a:lnTo>
                  <a:pt x="1583" y="173"/>
                </a:lnTo>
                <a:lnTo>
                  <a:pt x="1583" y="155"/>
                </a:lnTo>
                <a:lnTo>
                  <a:pt x="1592" y="150"/>
                </a:lnTo>
                <a:lnTo>
                  <a:pt x="1600" y="142"/>
                </a:lnTo>
                <a:lnTo>
                  <a:pt x="1605" y="132"/>
                </a:lnTo>
                <a:lnTo>
                  <a:pt x="1606" y="126"/>
                </a:lnTo>
                <a:lnTo>
                  <a:pt x="1608" y="119"/>
                </a:lnTo>
                <a:lnTo>
                  <a:pt x="1606" y="112"/>
                </a:lnTo>
                <a:lnTo>
                  <a:pt x="1605" y="104"/>
                </a:lnTo>
                <a:lnTo>
                  <a:pt x="1600" y="98"/>
                </a:lnTo>
                <a:lnTo>
                  <a:pt x="1595" y="92"/>
                </a:lnTo>
                <a:lnTo>
                  <a:pt x="1589" y="87"/>
                </a:lnTo>
                <a:lnTo>
                  <a:pt x="1583" y="84"/>
                </a:lnTo>
                <a:lnTo>
                  <a:pt x="1575" y="81"/>
                </a:lnTo>
                <a:lnTo>
                  <a:pt x="1568" y="81"/>
                </a:lnTo>
                <a:lnTo>
                  <a:pt x="1559" y="81"/>
                </a:lnTo>
                <a:lnTo>
                  <a:pt x="1551" y="84"/>
                </a:lnTo>
                <a:lnTo>
                  <a:pt x="1545" y="87"/>
                </a:lnTo>
                <a:lnTo>
                  <a:pt x="1539" y="92"/>
                </a:lnTo>
                <a:lnTo>
                  <a:pt x="1534" y="98"/>
                </a:lnTo>
                <a:lnTo>
                  <a:pt x="1529" y="104"/>
                </a:lnTo>
                <a:lnTo>
                  <a:pt x="1528" y="112"/>
                </a:lnTo>
                <a:lnTo>
                  <a:pt x="1526" y="119"/>
                </a:lnTo>
                <a:lnTo>
                  <a:pt x="1528" y="126"/>
                </a:lnTo>
                <a:lnTo>
                  <a:pt x="1529" y="132"/>
                </a:lnTo>
                <a:lnTo>
                  <a:pt x="1534" y="142"/>
                </a:lnTo>
                <a:lnTo>
                  <a:pt x="1542" y="150"/>
                </a:lnTo>
                <a:lnTo>
                  <a:pt x="1551" y="155"/>
                </a:lnTo>
                <a:lnTo>
                  <a:pt x="1551" y="173"/>
                </a:lnTo>
                <a:lnTo>
                  <a:pt x="1522" y="173"/>
                </a:lnTo>
                <a:lnTo>
                  <a:pt x="1522" y="196"/>
                </a:lnTo>
                <a:lnTo>
                  <a:pt x="1551" y="196"/>
                </a:lnTo>
                <a:lnTo>
                  <a:pt x="1551" y="318"/>
                </a:lnTo>
                <a:lnTo>
                  <a:pt x="1531" y="315"/>
                </a:lnTo>
                <a:lnTo>
                  <a:pt x="1511" y="308"/>
                </a:lnTo>
                <a:lnTo>
                  <a:pt x="1492" y="297"/>
                </a:lnTo>
                <a:lnTo>
                  <a:pt x="1477" y="285"/>
                </a:lnTo>
                <a:lnTo>
                  <a:pt x="1454" y="308"/>
                </a:lnTo>
                <a:close/>
                <a:moveTo>
                  <a:pt x="1391" y="173"/>
                </a:moveTo>
                <a:lnTo>
                  <a:pt x="1391" y="173"/>
                </a:lnTo>
                <a:lnTo>
                  <a:pt x="1393" y="156"/>
                </a:lnTo>
                <a:lnTo>
                  <a:pt x="1396" y="138"/>
                </a:lnTo>
                <a:lnTo>
                  <a:pt x="1399" y="122"/>
                </a:lnTo>
                <a:lnTo>
                  <a:pt x="1405" y="106"/>
                </a:lnTo>
                <a:lnTo>
                  <a:pt x="1413" y="90"/>
                </a:lnTo>
                <a:lnTo>
                  <a:pt x="1422" y="77"/>
                </a:lnTo>
                <a:lnTo>
                  <a:pt x="1431" y="63"/>
                </a:lnTo>
                <a:lnTo>
                  <a:pt x="1443" y="51"/>
                </a:lnTo>
                <a:lnTo>
                  <a:pt x="1456" y="40"/>
                </a:lnTo>
                <a:lnTo>
                  <a:pt x="1469" y="31"/>
                </a:lnTo>
                <a:lnTo>
                  <a:pt x="1483" y="21"/>
                </a:lnTo>
                <a:lnTo>
                  <a:pt x="1499" y="14"/>
                </a:lnTo>
                <a:lnTo>
                  <a:pt x="1516" y="8"/>
                </a:lnTo>
                <a:lnTo>
                  <a:pt x="1532" y="5"/>
                </a:lnTo>
                <a:lnTo>
                  <a:pt x="1549" y="2"/>
                </a:lnTo>
                <a:lnTo>
                  <a:pt x="1568" y="0"/>
                </a:lnTo>
                <a:lnTo>
                  <a:pt x="1585" y="2"/>
                </a:lnTo>
                <a:lnTo>
                  <a:pt x="1603" y="5"/>
                </a:lnTo>
                <a:lnTo>
                  <a:pt x="1619" y="8"/>
                </a:lnTo>
                <a:lnTo>
                  <a:pt x="1635" y="14"/>
                </a:lnTo>
                <a:lnTo>
                  <a:pt x="1651" y="21"/>
                </a:lnTo>
                <a:lnTo>
                  <a:pt x="1665" y="31"/>
                </a:lnTo>
                <a:lnTo>
                  <a:pt x="1678" y="40"/>
                </a:lnTo>
                <a:lnTo>
                  <a:pt x="1691" y="51"/>
                </a:lnTo>
                <a:lnTo>
                  <a:pt x="1703" y="63"/>
                </a:lnTo>
                <a:lnTo>
                  <a:pt x="1712" y="77"/>
                </a:lnTo>
                <a:lnTo>
                  <a:pt x="1721" y="90"/>
                </a:lnTo>
                <a:lnTo>
                  <a:pt x="1729" y="106"/>
                </a:lnTo>
                <a:lnTo>
                  <a:pt x="1735" y="122"/>
                </a:lnTo>
                <a:lnTo>
                  <a:pt x="1740" y="138"/>
                </a:lnTo>
                <a:lnTo>
                  <a:pt x="1741" y="156"/>
                </a:lnTo>
                <a:lnTo>
                  <a:pt x="1743" y="173"/>
                </a:lnTo>
                <a:lnTo>
                  <a:pt x="1741" y="190"/>
                </a:lnTo>
                <a:lnTo>
                  <a:pt x="1740" y="205"/>
                </a:lnTo>
                <a:lnTo>
                  <a:pt x="1737" y="220"/>
                </a:lnTo>
                <a:lnTo>
                  <a:pt x="1731" y="234"/>
                </a:lnTo>
                <a:lnTo>
                  <a:pt x="1726" y="250"/>
                </a:lnTo>
                <a:lnTo>
                  <a:pt x="1718" y="262"/>
                </a:lnTo>
                <a:lnTo>
                  <a:pt x="1709" y="276"/>
                </a:lnTo>
                <a:lnTo>
                  <a:pt x="1700" y="288"/>
                </a:lnTo>
                <a:lnTo>
                  <a:pt x="1677" y="265"/>
                </a:lnTo>
                <a:lnTo>
                  <a:pt x="1685" y="254"/>
                </a:lnTo>
                <a:lnTo>
                  <a:pt x="1691" y="243"/>
                </a:lnTo>
                <a:lnTo>
                  <a:pt x="1697" y="233"/>
                </a:lnTo>
                <a:lnTo>
                  <a:pt x="1702" y="222"/>
                </a:lnTo>
                <a:lnTo>
                  <a:pt x="1705" y="210"/>
                </a:lnTo>
                <a:lnTo>
                  <a:pt x="1708" y="197"/>
                </a:lnTo>
                <a:lnTo>
                  <a:pt x="1709" y="185"/>
                </a:lnTo>
                <a:lnTo>
                  <a:pt x="1711" y="173"/>
                </a:lnTo>
                <a:lnTo>
                  <a:pt x="1709" y="159"/>
                </a:lnTo>
                <a:lnTo>
                  <a:pt x="1708" y="145"/>
                </a:lnTo>
                <a:lnTo>
                  <a:pt x="1703" y="132"/>
                </a:lnTo>
                <a:lnTo>
                  <a:pt x="1698" y="118"/>
                </a:lnTo>
                <a:lnTo>
                  <a:pt x="1692" y="106"/>
                </a:lnTo>
                <a:lnTo>
                  <a:pt x="1686" y="93"/>
                </a:lnTo>
                <a:lnTo>
                  <a:pt x="1677" y="83"/>
                </a:lnTo>
                <a:lnTo>
                  <a:pt x="1668" y="72"/>
                </a:lnTo>
                <a:lnTo>
                  <a:pt x="1658" y="63"/>
                </a:lnTo>
                <a:lnTo>
                  <a:pt x="1646" y="55"/>
                </a:lnTo>
                <a:lnTo>
                  <a:pt x="1635" y="47"/>
                </a:lnTo>
                <a:lnTo>
                  <a:pt x="1623" y="41"/>
                </a:lnTo>
                <a:lnTo>
                  <a:pt x="1609" y="37"/>
                </a:lnTo>
                <a:lnTo>
                  <a:pt x="1595" y="34"/>
                </a:lnTo>
                <a:lnTo>
                  <a:pt x="1582" y="31"/>
                </a:lnTo>
                <a:lnTo>
                  <a:pt x="1568" y="31"/>
                </a:lnTo>
                <a:lnTo>
                  <a:pt x="1552" y="31"/>
                </a:lnTo>
                <a:lnTo>
                  <a:pt x="1539" y="34"/>
                </a:lnTo>
                <a:lnTo>
                  <a:pt x="1525" y="37"/>
                </a:lnTo>
                <a:lnTo>
                  <a:pt x="1511" y="41"/>
                </a:lnTo>
                <a:lnTo>
                  <a:pt x="1499" y="47"/>
                </a:lnTo>
                <a:lnTo>
                  <a:pt x="1488" y="55"/>
                </a:lnTo>
                <a:lnTo>
                  <a:pt x="1477" y="63"/>
                </a:lnTo>
                <a:lnTo>
                  <a:pt x="1466" y="72"/>
                </a:lnTo>
                <a:lnTo>
                  <a:pt x="1457" y="83"/>
                </a:lnTo>
                <a:lnTo>
                  <a:pt x="1449" y="93"/>
                </a:lnTo>
                <a:lnTo>
                  <a:pt x="1442" y="106"/>
                </a:lnTo>
                <a:lnTo>
                  <a:pt x="1436" y="118"/>
                </a:lnTo>
                <a:lnTo>
                  <a:pt x="1431" y="132"/>
                </a:lnTo>
                <a:lnTo>
                  <a:pt x="1426" y="145"/>
                </a:lnTo>
                <a:lnTo>
                  <a:pt x="1425" y="159"/>
                </a:lnTo>
                <a:lnTo>
                  <a:pt x="1425" y="173"/>
                </a:lnTo>
                <a:lnTo>
                  <a:pt x="1425" y="185"/>
                </a:lnTo>
                <a:lnTo>
                  <a:pt x="1426" y="197"/>
                </a:lnTo>
                <a:lnTo>
                  <a:pt x="1429" y="210"/>
                </a:lnTo>
                <a:lnTo>
                  <a:pt x="1433" y="222"/>
                </a:lnTo>
                <a:lnTo>
                  <a:pt x="1437" y="233"/>
                </a:lnTo>
                <a:lnTo>
                  <a:pt x="1443" y="243"/>
                </a:lnTo>
                <a:lnTo>
                  <a:pt x="1449" y="254"/>
                </a:lnTo>
                <a:lnTo>
                  <a:pt x="1457" y="265"/>
                </a:lnTo>
                <a:lnTo>
                  <a:pt x="1434" y="288"/>
                </a:lnTo>
                <a:lnTo>
                  <a:pt x="1425" y="276"/>
                </a:lnTo>
                <a:lnTo>
                  <a:pt x="1416" y="262"/>
                </a:lnTo>
                <a:lnTo>
                  <a:pt x="1409" y="250"/>
                </a:lnTo>
                <a:lnTo>
                  <a:pt x="1403" y="234"/>
                </a:lnTo>
                <a:lnTo>
                  <a:pt x="1397" y="220"/>
                </a:lnTo>
                <a:lnTo>
                  <a:pt x="1394" y="205"/>
                </a:lnTo>
                <a:lnTo>
                  <a:pt x="1393" y="190"/>
                </a:lnTo>
                <a:lnTo>
                  <a:pt x="1391" y="173"/>
                </a:lnTo>
                <a:close/>
                <a:moveTo>
                  <a:pt x="1240" y="228"/>
                </a:moveTo>
                <a:lnTo>
                  <a:pt x="1240" y="119"/>
                </a:lnTo>
                <a:lnTo>
                  <a:pt x="1270" y="119"/>
                </a:lnTo>
                <a:lnTo>
                  <a:pt x="1270" y="204"/>
                </a:lnTo>
                <a:lnTo>
                  <a:pt x="1319" y="204"/>
                </a:lnTo>
                <a:lnTo>
                  <a:pt x="1319" y="228"/>
                </a:lnTo>
                <a:lnTo>
                  <a:pt x="1240" y="228"/>
                </a:lnTo>
                <a:close/>
                <a:moveTo>
                  <a:pt x="1139" y="228"/>
                </a:moveTo>
                <a:lnTo>
                  <a:pt x="1219" y="228"/>
                </a:lnTo>
                <a:lnTo>
                  <a:pt x="1219" y="204"/>
                </a:lnTo>
                <a:lnTo>
                  <a:pt x="1167" y="204"/>
                </a:lnTo>
                <a:lnTo>
                  <a:pt x="1167" y="185"/>
                </a:lnTo>
                <a:lnTo>
                  <a:pt x="1210" y="185"/>
                </a:lnTo>
                <a:lnTo>
                  <a:pt x="1210" y="162"/>
                </a:lnTo>
                <a:lnTo>
                  <a:pt x="1167" y="162"/>
                </a:lnTo>
                <a:lnTo>
                  <a:pt x="1167" y="144"/>
                </a:lnTo>
                <a:lnTo>
                  <a:pt x="1217" y="144"/>
                </a:lnTo>
                <a:lnTo>
                  <a:pt x="1217" y="119"/>
                </a:lnTo>
                <a:lnTo>
                  <a:pt x="1139" y="119"/>
                </a:lnTo>
                <a:lnTo>
                  <a:pt x="1139" y="228"/>
                </a:lnTo>
                <a:close/>
                <a:moveTo>
                  <a:pt x="1014" y="175"/>
                </a:moveTo>
                <a:lnTo>
                  <a:pt x="1014" y="175"/>
                </a:lnTo>
                <a:lnTo>
                  <a:pt x="1016" y="162"/>
                </a:lnTo>
                <a:lnTo>
                  <a:pt x="1019" y="152"/>
                </a:lnTo>
                <a:lnTo>
                  <a:pt x="1024" y="141"/>
                </a:lnTo>
                <a:lnTo>
                  <a:pt x="1030" y="133"/>
                </a:lnTo>
                <a:lnTo>
                  <a:pt x="1038" y="126"/>
                </a:lnTo>
                <a:lnTo>
                  <a:pt x="1047" y="121"/>
                </a:lnTo>
                <a:lnTo>
                  <a:pt x="1056" y="118"/>
                </a:lnTo>
                <a:lnTo>
                  <a:pt x="1068" y="116"/>
                </a:lnTo>
                <a:lnTo>
                  <a:pt x="1077" y="118"/>
                </a:lnTo>
                <a:lnTo>
                  <a:pt x="1085" y="119"/>
                </a:lnTo>
                <a:lnTo>
                  <a:pt x="1093" y="122"/>
                </a:lnTo>
                <a:lnTo>
                  <a:pt x="1099" y="126"/>
                </a:lnTo>
                <a:lnTo>
                  <a:pt x="1105" y="132"/>
                </a:lnTo>
                <a:lnTo>
                  <a:pt x="1110" y="138"/>
                </a:lnTo>
                <a:lnTo>
                  <a:pt x="1114" y="145"/>
                </a:lnTo>
                <a:lnTo>
                  <a:pt x="1116" y="155"/>
                </a:lnTo>
                <a:lnTo>
                  <a:pt x="1087" y="155"/>
                </a:lnTo>
                <a:lnTo>
                  <a:pt x="1084" y="147"/>
                </a:lnTo>
                <a:lnTo>
                  <a:pt x="1081" y="144"/>
                </a:lnTo>
                <a:lnTo>
                  <a:pt x="1074" y="141"/>
                </a:lnTo>
                <a:lnTo>
                  <a:pt x="1068" y="141"/>
                </a:lnTo>
                <a:lnTo>
                  <a:pt x="1064" y="141"/>
                </a:lnTo>
                <a:lnTo>
                  <a:pt x="1057" y="144"/>
                </a:lnTo>
                <a:lnTo>
                  <a:pt x="1054" y="147"/>
                </a:lnTo>
                <a:lnTo>
                  <a:pt x="1050" y="150"/>
                </a:lnTo>
                <a:lnTo>
                  <a:pt x="1048" y="155"/>
                </a:lnTo>
                <a:lnTo>
                  <a:pt x="1045" y="161"/>
                </a:lnTo>
                <a:lnTo>
                  <a:pt x="1044" y="175"/>
                </a:lnTo>
                <a:lnTo>
                  <a:pt x="1045" y="188"/>
                </a:lnTo>
                <a:lnTo>
                  <a:pt x="1048" y="193"/>
                </a:lnTo>
                <a:lnTo>
                  <a:pt x="1051" y="199"/>
                </a:lnTo>
                <a:lnTo>
                  <a:pt x="1054" y="202"/>
                </a:lnTo>
                <a:lnTo>
                  <a:pt x="1059" y="205"/>
                </a:lnTo>
                <a:lnTo>
                  <a:pt x="1064" y="208"/>
                </a:lnTo>
                <a:lnTo>
                  <a:pt x="1070" y="208"/>
                </a:lnTo>
                <a:lnTo>
                  <a:pt x="1081" y="207"/>
                </a:lnTo>
                <a:lnTo>
                  <a:pt x="1088" y="204"/>
                </a:lnTo>
                <a:lnTo>
                  <a:pt x="1088" y="188"/>
                </a:lnTo>
                <a:lnTo>
                  <a:pt x="1070" y="188"/>
                </a:lnTo>
                <a:lnTo>
                  <a:pt x="1070" y="168"/>
                </a:lnTo>
                <a:lnTo>
                  <a:pt x="1116" y="168"/>
                </a:lnTo>
                <a:lnTo>
                  <a:pt x="1116" y="216"/>
                </a:lnTo>
                <a:lnTo>
                  <a:pt x="1105" y="223"/>
                </a:lnTo>
                <a:lnTo>
                  <a:pt x="1094" y="228"/>
                </a:lnTo>
                <a:lnTo>
                  <a:pt x="1082" y="231"/>
                </a:lnTo>
                <a:lnTo>
                  <a:pt x="1073" y="233"/>
                </a:lnTo>
                <a:lnTo>
                  <a:pt x="1059" y="231"/>
                </a:lnTo>
                <a:lnTo>
                  <a:pt x="1048" y="228"/>
                </a:lnTo>
                <a:lnTo>
                  <a:pt x="1038" y="223"/>
                </a:lnTo>
                <a:lnTo>
                  <a:pt x="1030" y="217"/>
                </a:lnTo>
                <a:lnTo>
                  <a:pt x="1024" y="208"/>
                </a:lnTo>
                <a:lnTo>
                  <a:pt x="1019" y="199"/>
                </a:lnTo>
                <a:lnTo>
                  <a:pt x="1016" y="187"/>
                </a:lnTo>
                <a:lnTo>
                  <a:pt x="1014" y="175"/>
                </a:lnTo>
                <a:close/>
                <a:moveTo>
                  <a:pt x="939" y="190"/>
                </a:moveTo>
                <a:lnTo>
                  <a:pt x="953" y="148"/>
                </a:lnTo>
                <a:lnTo>
                  <a:pt x="967" y="190"/>
                </a:lnTo>
                <a:lnTo>
                  <a:pt x="939" y="190"/>
                </a:lnTo>
                <a:close/>
                <a:moveTo>
                  <a:pt x="896" y="228"/>
                </a:moveTo>
                <a:lnTo>
                  <a:pt x="927" y="228"/>
                </a:lnTo>
                <a:lnTo>
                  <a:pt x="931" y="211"/>
                </a:lnTo>
                <a:lnTo>
                  <a:pt x="974" y="211"/>
                </a:lnTo>
                <a:lnTo>
                  <a:pt x="981" y="228"/>
                </a:lnTo>
                <a:lnTo>
                  <a:pt x="1010" y="228"/>
                </a:lnTo>
                <a:lnTo>
                  <a:pt x="968" y="119"/>
                </a:lnTo>
                <a:lnTo>
                  <a:pt x="938" y="119"/>
                </a:lnTo>
                <a:lnTo>
                  <a:pt x="896" y="228"/>
                </a:lnTo>
                <a:close/>
                <a:moveTo>
                  <a:pt x="789" y="228"/>
                </a:moveTo>
                <a:lnTo>
                  <a:pt x="815" y="228"/>
                </a:lnTo>
                <a:lnTo>
                  <a:pt x="815" y="164"/>
                </a:lnTo>
                <a:lnTo>
                  <a:pt x="853" y="228"/>
                </a:lnTo>
                <a:lnTo>
                  <a:pt x="884" y="228"/>
                </a:lnTo>
                <a:lnTo>
                  <a:pt x="884" y="119"/>
                </a:lnTo>
                <a:lnTo>
                  <a:pt x="856" y="119"/>
                </a:lnTo>
                <a:lnTo>
                  <a:pt x="856" y="184"/>
                </a:lnTo>
                <a:lnTo>
                  <a:pt x="818" y="119"/>
                </a:lnTo>
                <a:lnTo>
                  <a:pt x="789" y="119"/>
                </a:lnTo>
                <a:lnTo>
                  <a:pt x="789" y="228"/>
                </a:lnTo>
                <a:close/>
                <a:moveTo>
                  <a:pt x="666" y="185"/>
                </a:moveTo>
                <a:lnTo>
                  <a:pt x="666" y="171"/>
                </a:lnTo>
                <a:lnTo>
                  <a:pt x="709" y="171"/>
                </a:lnTo>
                <a:lnTo>
                  <a:pt x="709" y="127"/>
                </a:lnTo>
                <a:lnTo>
                  <a:pt x="725" y="127"/>
                </a:lnTo>
                <a:lnTo>
                  <a:pt x="725" y="171"/>
                </a:lnTo>
                <a:lnTo>
                  <a:pt x="769" y="171"/>
                </a:lnTo>
                <a:lnTo>
                  <a:pt x="769" y="185"/>
                </a:lnTo>
                <a:lnTo>
                  <a:pt x="725" y="185"/>
                </a:lnTo>
                <a:lnTo>
                  <a:pt x="725" y="228"/>
                </a:lnTo>
                <a:lnTo>
                  <a:pt x="709" y="228"/>
                </a:lnTo>
                <a:lnTo>
                  <a:pt x="709" y="185"/>
                </a:lnTo>
                <a:lnTo>
                  <a:pt x="666" y="185"/>
                </a:lnTo>
                <a:close/>
                <a:moveTo>
                  <a:pt x="572" y="228"/>
                </a:moveTo>
                <a:lnTo>
                  <a:pt x="653" y="228"/>
                </a:lnTo>
                <a:lnTo>
                  <a:pt x="653" y="204"/>
                </a:lnTo>
                <a:lnTo>
                  <a:pt x="599" y="204"/>
                </a:lnTo>
                <a:lnTo>
                  <a:pt x="599" y="185"/>
                </a:lnTo>
                <a:lnTo>
                  <a:pt x="644" y="185"/>
                </a:lnTo>
                <a:lnTo>
                  <a:pt x="644" y="162"/>
                </a:lnTo>
                <a:lnTo>
                  <a:pt x="599" y="162"/>
                </a:lnTo>
                <a:lnTo>
                  <a:pt x="599" y="144"/>
                </a:lnTo>
                <a:lnTo>
                  <a:pt x="650" y="144"/>
                </a:lnTo>
                <a:lnTo>
                  <a:pt x="650" y="119"/>
                </a:lnTo>
                <a:lnTo>
                  <a:pt x="572" y="119"/>
                </a:lnTo>
                <a:lnTo>
                  <a:pt x="572" y="228"/>
                </a:lnTo>
                <a:close/>
                <a:moveTo>
                  <a:pt x="450" y="228"/>
                </a:moveTo>
                <a:lnTo>
                  <a:pt x="478" y="228"/>
                </a:lnTo>
                <a:lnTo>
                  <a:pt x="478" y="164"/>
                </a:lnTo>
                <a:lnTo>
                  <a:pt x="516" y="228"/>
                </a:lnTo>
                <a:lnTo>
                  <a:pt x="546" y="228"/>
                </a:lnTo>
                <a:lnTo>
                  <a:pt x="546" y="119"/>
                </a:lnTo>
                <a:lnTo>
                  <a:pt x="520" y="119"/>
                </a:lnTo>
                <a:lnTo>
                  <a:pt x="520" y="184"/>
                </a:lnTo>
                <a:lnTo>
                  <a:pt x="480" y="119"/>
                </a:lnTo>
                <a:lnTo>
                  <a:pt x="450" y="119"/>
                </a:lnTo>
                <a:lnTo>
                  <a:pt x="450" y="228"/>
                </a:lnTo>
                <a:close/>
                <a:moveTo>
                  <a:pt x="329" y="228"/>
                </a:moveTo>
                <a:lnTo>
                  <a:pt x="358" y="228"/>
                </a:lnTo>
                <a:lnTo>
                  <a:pt x="358" y="187"/>
                </a:lnTo>
                <a:lnTo>
                  <a:pt x="397" y="187"/>
                </a:lnTo>
                <a:lnTo>
                  <a:pt x="397" y="228"/>
                </a:lnTo>
                <a:lnTo>
                  <a:pt x="426" y="228"/>
                </a:lnTo>
                <a:lnTo>
                  <a:pt x="426" y="119"/>
                </a:lnTo>
                <a:lnTo>
                  <a:pt x="397" y="119"/>
                </a:lnTo>
                <a:lnTo>
                  <a:pt x="397" y="161"/>
                </a:lnTo>
                <a:lnTo>
                  <a:pt x="358" y="161"/>
                </a:lnTo>
                <a:lnTo>
                  <a:pt x="358" y="119"/>
                </a:lnTo>
                <a:lnTo>
                  <a:pt x="329" y="119"/>
                </a:lnTo>
                <a:lnTo>
                  <a:pt x="329" y="228"/>
                </a:lnTo>
                <a:close/>
                <a:moveTo>
                  <a:pt x="226" y="228"/>
                </a:moveTo>
                <a:lnTo>
                  <a:pt x="307" y="228"/>
                </a:lnTo>
                <a:lnTo>
                  <a:pt x="307" y="204"/>
                </a:lnTo>
                <a:lnTo>
                  <a:pt x="254" y="204"/>
                </a:lnTo>
                <a:lnTo>
                  <a:pt x="254" y="185"/>
                </a:lnTo>
                <a:lnTo>
                  <a:pt x="298" y="185"/>
                </a:lnTo>
                <a:lnTo>
                  <a:pt x="298" y="162"/>
                </a:lnTo>
                <a:lnTo>
                  <a:pt x="254" y="162"/>
                </a:lnTo>
                <a:lnTo>
                  <a:pt x="254" y="144"/>
                </a:lnTo>
                <a:lnTo>
                  <a:pt x="304" y="144"/>
                </a:lnTo>
                <a:lnTo>
                  <a:pt x="304" y="119"/>
                </a:lnTo>
                <a:lnTo>
                  <a:pt x="226" y="119"/>
                </a:lnTo>
                <a:lnTo>
                  <a:pt x="226" y="228"/>
                </a:lnTo>
                <a:close/>
                <a:moveTo>
                  <a:pt x="108" y="184"/>
                </a:moveTo>
                <a:lnTo>
                  <a:pt x="108" y="184"/>
                </a:lnTo>
                <a:lnTo>
                  <a:pt x="108" y="196"/>
                </a:lnTo>
                <a:lnTo>
                  <a:pt x="111" y="207"/>
                </a:lnTo>
                <a:lnTo>
                  <a:pt x="115" y="214"/>
                </a:lnTo>
                <a:lnTo>
                  <a:pt x="121" y="220"/>
                </a:lnTo>
                <a:lnTo>
                  <a:pt x="129" y="227"/>
                </a:lnTo>
                <a:lnTo>
                  <a:pt x="137" y="230"/>
                </a:lnTo>
                <a:lnTo>
                  <a:pt x="144" y="231"/>
                </a:lnTo>
                <a:lnTo>
                  <a:pt x="155" y="233"/>
                </a:lnTo>
                <a:lnTo>
                  <a:pt x="164" y="231"/>
                </a:lnTo>
                <a:lnTo>
                  <a:pt x="172" y="230"/>
                </a:lnTo>
                <a:lnTo>
                  <a:pt x="181" y="227"/>
                </a:lnTo>
                <a:lnTo>
                  <a:pt x="188" y="220"/>
                </a:lnTo>
                <a:lnTo>
                  <a:pt x="194" y="214"/>
                </a:lnTo>
                <a:lnTo>
                  <a:pt x="198" y="207"/>
                </a:lnTo>
                <a:lnTo>
                  <a:pt x="201" y="196"/>
                </a:lnTo>
                <a:lnTo>
                  <a:pt x="201" y="184"/>
                </a:lnTo>
                <a:lnTo>
                  <a:pt x="201" y="119"/>
                </a:lnTo>
                <a:lnTo>
                  <a:pt x="172" y="119"/>
                </a:lnTo>
                <a:lnTo>
                  <a:pt x="172" y="188"/>
                </a:lnTo>
                <a:lnTo>
                  <a:pt x="171" y="196"/>
                </a:lnTo>
                <a:lnTo>
                  <a:pt x="168" y="202"/>
                </a:lnTo>
                <a:lnTo>
                  <a:pt x="163" y="207"/>
                </a:lnTo>
                <a:lnTo>
                  <a:pt x="155" y="207"/>
                </a:lnTo>
                <a:lnTo>
                  <a:pt x="146" y="207"/>
                </a:lnTo>
                <a:lnTo>
                  <a:pt x="141" y="202"/>
                </a:lnTo>
                <a:lnTo>
                  <a:pt x="137" y="196"/>
                </a:lnTo>
                <a:lnTo>
                  <a:pt x="137" y="188"/>
                </a:lnTo>
                <a:lnTo>
                  <a:pt x="137" y="119"/>
                </a:lnTo>
                <a:lnTo>
                  <a:pt x="108" y="119"/>
                </a:lnTo>
                <a:lnTo>
                  <a:pt x="108" y="184"/>
                </a:lnTo>
                <a:close/>
                <a:moveTo>
                  <a:pt x="0" y="228"/>
                </a:moveTo>
                <a:lnTo>
                  <a:pt x="29" y="228"/>
                </a:lnTo>
                <a:lnTo>
                  <a:pt x="29" y="197"/>
                </a:lnTo>
                <a:lnTo>
                  <a:pt x="38" y="185"/>
                </a:lnTo>
                <a:lnTo>
                  <a:pt x="63" y="228"/>
                </a:lnTo>
                <a:lnTo>
                  <a:pt x="97" y="228"/>
                </a:lnTo>
                <a:lnTo>
                  <a:pt x="58" y="164"/>
                </a:lnTo>
                <a:lnTo>
                  <a:pt x="92" y="119"/>
                </a:lnTo>
                <a:lnTo>
                  <a:pt x="58" y="119"/>
                </a:lnTo>
                <a:lnTo>
                  <a:pt x="29" y="159"/>
                </a:lnTo>
                <a:lnTo>
                  <a:pt x="29" y="119"/>
                </a:lnTo>
                <a:lnTo>
                  <a:pt x="0" y="119"/>
                </a:lnTo>
                <a:lnTo>
                  <a:pt x="0" y="228"/>
                </a:lnTo>
                <a:close/>
              </a:path>
            </a:pathLst>
          </a:custGeom>
          <a:solidFill>
            <a:srgbClr val="00336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Picture Placeholder 3"/>
          <p:cNvSpPr>
            <a:spLocks noGrp="1"/>
          </p:cNvSpPr>
          <p:nvPr>
            <p:ph type="pic" sz="quarter" idx="13"/>
          </p:nvPr>
        </p:nvSpPr>
        <p:spPr>
          <a:xfrm>
            <a:off x="0" y="1609934"/>
            <a:ext cx="12192000" cy="5248066"/>
          </a:xfrm>
          <a:prstGeom prst="rect">
            <a:avLst/>
          </a:prstGeom>
          <a:solidFill>
            <a:schemeClr val="accent6"/>
          </a:solidFill>
          <a:ln>
            <a:noFill/>
          </a:ln>
        </p:spPr>
        <p:txBody>
          <a:bodyPr rIns="3240000" rtlCol="0" anchor="ctr">
            <a:normAutofit/>
          </a:bodyPr>
          <a:lstStyle>
            <a:lvl1pPr marL="0" indent="0" algn="r">
              <a:buNone/>
              <a:defRPr>
                <a:solidFill>
                  <a:schemeClr val="bg1"/>
                </a:solidFill>
              </a:defRPr>
            </a:lvl1pPr>
          </a:lstStyle>
          <a:p>
            <a:pPr lvl="0"/>
            <a:r>
              <a:rPr lang="en-US" noProof="0"/>
              <a:t>Click icon to add picture</a:t>
            </a:r>
            <a:endParaRPr lang="en-US" noProof="0" dirty="0"/>
          </a:p>
        </p:txBody>
      </p:sp>
      <p:sp>
        <p:nvSpPr>
          <p:cNvPr id="13" name="overlay"/>
          <p:cNvSpPr>
            <a:spLocks noGrp="1"/>
          </p:cNvSpPr>
          <p:nvPr>
            <p:ph type="body" sz="quarter" idx="16"/>
          </p:nvPr>
        </p:nvSpPr>
        <p:spPr>
          <a:xfrm>
            <a:off x="-1" y="1615262"/>
            <a:ext cx="8867775" cy="5242737"/>
          </a:xfrm>
          <a:prstGeom prst="rect">
            <a:avLst/>
          </a:prstGeom>
          <a:gradFill flip="none" rotWithShape="1">
            <a:gsLst>
              <a:gs pos="0">
                <a:srgbClr val="000000">
                  <a:alpha val="0"/>
                </a:srgbClr>
              </a:gs>
              <a:gs pos="100000">
                <a:srgbClr val="000000">
                  <a:alpha val="33000"/>
                </a:srgbClr>
              </a:gs>
            </a:gsLst>
            <a:lin ang="10800000" scaled="1"/>
            <a:tileRect/>
          </a:gradFill>
        </p:spPr>
        <p:txBody>
          <a:bodyPr/>
          <a:lstStyle>
            <a:lvl1pPr marL="0" indent="0">
              <a:buNone/>
              <a:defRPr/>
            </a:lvl1pPr>
          </a:lstStyle>
          <a:p>
            <a:pPr lvl="0"/>
            <a:r>
              <a:rPr lang="en-US"/>
              <a:t>Click to edit Master text styles</a:t>
            </a:r>
          </a:p>
        </p:txBody>
      </p:sp>
      <p:sp>
        <p:nvSpPr>
          <p:cNvPr id="7" name="Text Placeholder 5"/>
          <p:cNvSpPr>
            <a:spLocks noGrp="1"/>
          </p:cNvSpPr>
          <p:nvPr>
            <p:ph type="body" sz="quarter" idx="14"/>
          </p:nvPr>
        </p:nvSpPr>
        <p:spPr>
          <a:xfrm>
            <a:off x="550864" y="3213713"/>
            <a:ext cx="5545136" cy="3096599"/>
          </a:xfrm>
          <a:prstGeom prst="rect">
            <a:avLst/>
          </a:prstGeom>
        </p:spPr>
        <p:txBody>
          <a:bodyPr>
            <a:noAutofit/>
          </a:bodyPr>
          <a:lstStyle>
            <a:lvl1pPr marL="0" indent="0">
              <a:lnSpc>
                <a:spcPct val="100000"/>
              </a:lnSpc>
              <a:spcBef>
                <a:spcPts val="0"/>
              </a:spcBef>
              <a:spcAft>
                <a:spcPts val="1200"/>
              </a:spcAft>
              <a:buNone/>
              <a:defRPr sz="2400" b="0" baseline="0">
                <a:solidFill>
                  <a:schemeClr val="bg1"/>
                </a:solidFill>
              </a:defRPr>
            </a:lvl1pPr>
          </a:lstStyle>
          <a:p>
            <a:pPr lvl="0"/>
            <a:r>
              <a:rPr lang="en-US" noProof="0"/>
              <a:t>Click to edit Master text styles</a:t>
            </a:r>
          </a:p>
        </p:txBody>
      </p:sp>
      <p:sp>
        <p:nvSpPr>
          <p:cNvPr id="8" name="Titel 1"/>
          <p:cNvSpPr>
            <a:spLocks noGrp="1"/>
          </p:cNvSpPr>
          <p:nvPr>
            <p:ph type="title"/>
          </p:nvPr>
        </p:nvSpPr>
        <p:spPr>
          <a:xfrm>
            <a:off x="550864" y="1991893"/>
            <a:ext cx="5545136" cy="1065940"/>
          </a:xfrm>
        </p:spPr>
        <p:txBody>
          <a:bodyPr/>
          <a:lstStyle>
            <a:lvl1pPr>
              <a:defRPr lang="en-GB" sz="3600" b="1" kern="1200" baseline="0" noProof="0" dirty="0">
                <a:solidFill>
                  <a:schemeClr val="bg1"/>
                </a:solidFill>
                <a:latin typeface="+mn-lt"/>
                <a:ea typeface="+mn-ea"/>
                <a:cs typeface="+mn-cs"/>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1630660555"/>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xtMsg_BlueBG_right+Full_image_light">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0" y="0"/>
            <a:ext cx="12193200" cy="6858000"/>
          </a:xfrm>
          <a:prstGeom prst="rect">
            <a:avLst/>
          </a:prstGeom>
          <a:solidFill>
            <a:schemeClr val="bg2"/>
          </a:solidFill>
        </p:spPr>
        <p:txBody>
          <a:bodyPr lIns="3240000" rtlCol="0" anchor="ctr">
            <a:normAutofit/>
          </a:bodyPr>
          <a:lstStyle>
            <a:lvl1pPr marL="0" indent="0" algn="l">
              <a:buNone/>
              <a:defRPr>
                <a:solidFill>
                  <a:srgbClr val="000000"/>
                </a:solidFill>
              </a:defRPr>
            </a:lvl1pPr>
          </a:lstStyle>
          <a:p>
            <a:pPr lvl="0"/>
            <a:r>
              <a:rPr lang="en-US" noProof="0"/>
              <a:t>Click icon to add picture</a:t>
            </a:r>
            <a:endParaRPr lang="en-US" noProof="0" dirty="0"/>
          </a:p>
        </p:txBody>
      </p:sp>
      <p:sp>
        <p:nvSpPr>
          <p:cNvPr id="9"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8" name="Text Placeholder 6"/>
          <p:cNvSpPr>
            <a:spLocks noGrp="1"/>
          </p:cNvSpPr>
          <p:nvPr>
            <p:ph type="body" sz="quarter" idx="17"/>
          </p:nvPr>
        </p:nvSpPr>
        <p:spPr>
          <a:xfrm>
            <a:off x="6612000" y="1629137"/>
            <a:ext cx="5580000" cy="3960000"/>
          </a:xfrm>
          <a:solidFill>
            <a:schemeClr val="tx1"/>
          </a:solidFill>
        </p:spPr>
        <p:txBody>
          <a:bodyPr lIns="540000" tIns="180000" rIns="540000" bIns="180000" anchor="ct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1A833707-1749-B14C-2FD9-11838693619A}"/>
              </a:ext>
            </a:extLst>
          </p:cNvPr>
          <p:cNvSpPr>
            <a:spLocks noGrp="1"/>
          </p:cNvSpPr>
          <p:nvPr>
            <p:ph type="sldNum" sz="quarter" idx="18"/>
          </p:nvPr>
        </p:nvSpPr>
        <p:spPr/>
        <p:txBody>
          <a:bodyPr/>
          <a:lstStyle>
            <a:lvl1pPr algn="r">
              <a:defRPr sz="1000">
                <a:solidFill>
                  <a:srgbClr val="000000"/>
                </a:solidFill>
              </a:defRPr>
            </a:lvl1pPr>
          </a:lstStyle>
          <a:p>
            <a:pPr>
              <a:defRPr/>
            </a:pPr>
            <a:fld id="{3285EAD2-BF10-48BC-9651-1F7364DA3680}" type="slidenum">
              <a:rPr lang="en-GB"/>
              <a:pPr>
                <a:defRPr/>
              </a:pPr>
              <a:t>‹#›</a:t>
            </a:fld>
            <a:endParaRPr lang="en-GB" dirty="0"/>
          </a:p>
        </p:txBody>
      </p:sp>
    </p:spTree>
    <p:extLst>
      <p:ext uri="{BB962C8B-B14F-4D97-AF65-F5344CB8AC3E}">
        <p14:creationId xmlns:p14="http://schemas.microsoft.com/office/powerpoint/2010/main" val="2925924249"/>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Msg_BlueBG_right+Full_image_dark">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0" y="0"/>
            <a:ext cx="12193200" cy="6858000"/>
          </a:xfrm>
          <a:prstGeom prst="rect">
            <a:avLst/>
          </a:prstGeom>
          <a:solidFill>
            <a:schemeClr val="accent6"/>
          </a:solidFill>
        </p:spPr>
        <p:txBody>
          <a:bodyPr lIns="3240000" rtlCol="0" anchor="ctr">
            <a:normAutofit/>
          </a:bodyPr>
          <a:lstStyle>
            <a:lvl1pPr marL="0" indent="0" algn="l">
              <a:buNone/>
              <a:defRPr>
                <a:solidFill>
                  <a:schemeClr val="bg1"/>
                </a:solidFill>
              </a:defRPr>
            </a:lvl1pPr>
          </a:lstStyle>
          <a:p>
            <a:pPr lvl="0"/>
            <a:r>
              <a:rPr lang="en-US" noProof="0"/>
              <a:t>Click icon to add picture</a:t>
            </a:r>
            <a:endParaRPr lang="en-US" noProof="0" dirty="0"/>
          </a:p>
        </p:txBody>
      </p:sp>
      <p:sp>
        <p:nvSpPr>
          <p:cNvPr id="6"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8" name="Text Placeholder 6"/>
          <p:cNvSpPr>
            <a:spLocks noGrp="1"/>
          </p:cNvSpPr>
          <p:nvPr>
            <p:ph type="body" sz="quarter" idx="17"/>
          </p:nvPr>
        </p:nvSpPr>
        <p:spPr>
          <a:xfrm>
            <a:off x="6612000" y="1629137"/>
            <a:ext cx="5580000" cy="3960000"/>
          </a:xfrm>
          <a:solidFill>
            <a:schemeClr val="tx1"/>
          </a:solidFill>
        </p:spPr>
        <p:txBody>
          <a:bodyPr lIns="540000" tIns="180000" rIns="540000" bIns="180000" anchor="ct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17C06829-49F6-679B-9CEE-BE7E465CC068}"/>
              </a:ext>
            </a:extLst>
          </p:cNvPr>
          <p:cNvSpPr>
            <a:spLocks noGrp="1"/>
          </p:cNvSpPr>
          <p:nvPr>
            <p:ph type="sldNum" sz="quarter" idx="18"/>
          </p:nvPr>
        </p:nvSpPr>
        <p:spPr/>
        <p:txBody>
          <a:bodyPr/>
          <a:lstStyle>
            <a:lvl1pPr algn="r">
              <a:defRPr sz="1000">
                <a:solidFill>
                  <a:schemeClr val="bg1"/>
                </a:solidFill>
              </a:defRPr>
            </a:lvl1pPr>
          </a:lstStyle>
          <a:p>
            <a:pPr>
              <a:defRPr/>
            </a:pPr>
            <a:fld id="{61408AEC-B027-4FA4-B9FB-CA272D7B099F}" type="slidenum">
              <a:rPr lang="en-GB"/>
              <a:pPr>
                <a:defRPr/>
              </a:pPr>
              <a:t>‹#›</a:t>
            </a:fld>
            <a:endParaRPr lang="en-GB" dirty="0"/>
          </a:p>
        </p:txBody>
      </p:sp>
    </p:spTree>
    <p:extLst>
      <p:ext uri="{BB962C8B-B14F-4D97-AF65-F5344CB8AC3E}">
        <p14:creationId xmlns:p14="http://schemas.microsoft.com/office/powerpoint/2010/main" val="3956361057"/>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Msg_BlueBG_left+Full_image_light">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0" y="0"/>
            <a:ext cx="12193200" cy="6858000"/>
          </a:xfrm>
          <a:prstGeom prst="rect">
            <a:avLst/>
          </a:prstGeom>
          <a:solidFill>
            <a:schemeClr val="bg2"/>
          </a:solidFill>
        </p:spPr>
        <p:txBody>
          <a:bodyPr rIns="3240000" rtlCol="0" anchor="ctr">
            <a:normAutofit/>
          </a:bodyPr>
          <a:lstStyle>
            <a:lvl1pPr marL="0" indent="0" algn="r">
              <a:buNone/>
              <a:defRPr>
                <a:solidFill>
                  <a:srgbClr val="000000"/>
                </a:solidFill>
              </a:defRPr>
            </a:lvl1pPr>
          </a:lstStyle>
          <a:p>
            <a:pPr lvl="0"/>
            <a:r>
              <a:rPr lang="en-US" noProof="0"/>
              <a:t>Click icon to add picture</a:t>
            </a:r>
            <a:endParaRPr lang="en-US" noProof="0" dirty="0"/>
          </a:p>
        </p:txBody>
      </p:sp>
      <p:sp>
        <p:nvSpPr>
          <p:cNvPr id="7"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9" name="Text Placeholder 6"/>
          <p:cNvSpPr>
            <a:spLocks noGrp="1"/>
          </p:cNvSpPr>
          <p:nvPr>
            <p:ph type="body" sz="quarter" idx="17"/>
          </p:nvPr>
        </p:nvSpPr>
        <p:spPr>
          <a:xfrm>
            <a:off x="-1264" y="1629137"/>
            <a:ext cx="5580000" cy="3960000"/>
          </a:xfrm>
          <a:solidFill>
            <a:schemeClr val="tx1"/>
          </a:solidFill>
        </p:spPr>
        <p:txBody>
          <a:bodyPr lIns="540000" tIns="180000" rIns="540000" bIns="180000" anchor="ct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C262CA1B-312B-CBFB-8508-6EC235E65671}"/>
              </a:ext>
            </a:extLst>
          </p:cNvPr>
          <p:cNvSpPr>
            <a:spLocks noGrp="1"/>
          </p:cNvSpPr>
          <p:nvPr>
            <p:ph type="sldNum" sz="quarter" idx="18"/>
          </p:nvPr>
        </p:nvSpPr>
        <p:spPr/>
        <p:txBody>
          <a:bodyPr/>
          <a:lstStyle>
            <a:lvl1pPr algn="r">
              <a:defRPr sz="1000">
                <a:solidFill>
                  <a:srgbClr val="000000"/>
                </a:solidFill>
              </a:defRPr>
            </a:lvl1pPr>
          </a:lstStyle>
          <a:p>
            <a:pPr>
              <a:defRPr/>
            </a:pPr>
            <a:fld id="{A13FC5C6-3330-4836-996A-9BAE875BA9A6}" type="slidenum">
              <a:rPr lang="en-GB"/>
              <a:pPr>
                <a:defRPr/>
              </a:pPr>
              <a:t>‹#›</a:t>
            </a:fld>
            <a:endParaRPr lang="en-GB" dirty="0"/>
          </a:p>
        </p:txBody>
      </p:sp>
    </p:spTree>
    <p:extLst>
      <p:ext uri="{BB962C8B-B14F-4D97-AF65-F5344CB8AC3E}">
        <p14:creationId xmlns:p14="http://schemas.microsoft.com/office/powerpoint/2010/main" val="3044679897"/>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extMsg_BlueBG_left+Full_image_dark">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0" y="0"/>
            <a:ext cx="12193200" cy="6858000"/>
          </a:xfrm>
          <a:prstGeom prst="rect">
            <a:avLst/>
          </a:prstGeom>
          <a:solidFill>
            <a:schemeClr val="accent6"/>
          </a:solidFill>
        </p:spPr>
        <p:txBody>
          <a:bodyPr rIns="3240000" rtlCol="0" anchor="ctr">
            <a:normAutofit/>
          </a:bodyPr>
          <a:lstStyle>
            <a:lvl1pPr marL="0" indent="0" algn="r">
              <a:buNone/>
              <a:defRPr>
                <a:solidFill>
                  <a:schemeClr val="bg1"/>
                </a:solidFill>
              </a:defRPr>
            </a:lvl1pPr>
          </a:lstStyle>
          <a:p>
            <a:pPr lvl="0"/>
            <a:r>
              <a:rPr lang="en-US" noProof="0"/>
              <a:t>Click icon to add picture</a:t>
            </a:r>
            <a:endParaRPr lang="en-US" noProof="0" dirty="0"/>
          </a:p>
        </p:txBody>
      </p:sp>
      <p:sp>
        <p:nvSpPr>
          <p:cNvPr id="6"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8" name="Text Placeholder 6"/>
          <p:cNvSpPr>
            <a:spLocks noGrp="1"/>
          </p:cNvSpPr>
          <p:nvPr>
            <p:ph type="body" sz="quarter" idx="17"/>
          </p:nvPr>
        </p:nvSpPr>
        <p:spPr>
          <a:xfrm>
            <a:off x="-1264" y="1629137"/>
            <a:ext cx="5580000" cy="3960000"/>
          </a:xfrm>
          <a:solidFill>
            <a:schemeClr val="tx1"/>
          </a:solidFill>
        </p:spPr>
        <p:txBody>
          <a:bodyPr lIns="540000" tIns="180000" rIns="540000" bIns="180000" anchor="ct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0C82DFE1-647C-C15B-8184-2D05D7DD9312}"/>
              </a:ext>
            </a:extLst>
          </p:cNvPr>
          <p:cNvSpPr>
            <a:spLocks noGrp="1"/>
          </p:cNvSpPr>
          <p:nvPr>
            <p:ph type="sldNum" sz="quarter" idx="18"/>
          </p:nvPr>
        </p:nvSpPr>
        <p:spPr/>
        <p:txBody>
          <a:bodyPr/>
          <a:lstStyle>
            <a:lvl1pPr algn="r">
              <a:defRPr sz="1000">
                <a:solidFill>
                  <a:schemeClr val="bg1"/>
                </a:solidFill>
              </a:defRPr>
            </a:lvl1pPr>
          </a:lstStyle>
          <a:p>
            <a:pPr>
              <a:defRPr/>
            </a:pPr>
            <a:fld id="{9F34D3C9-E620-44C4-B86B-37F0FF572483}" type="slidenum">
              <a:rPr lang="en-GB"/>
              <a:pPr>
                <a:defRPr/>
              </a:pPr>
              <a:t>‹#›</a:t>
            </a:fld>
            <a:endParaRPr lang="en-GB" dirty="0"/>
          </a:p>
        </p:txBody>
      </p:sp>
    </p:spTree>
    <p:extLst>
      <p:ext uri="{BB962C8B-B14F-4D97-AF65-F5344CB8AC3E}">
        <p14:creationId xmlns:p14="http://schemas.microsoft.com/office/powerpoint/2010/main" val="1907256911"/>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Msg_BlueBG_Lower_right+Full_image_light">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0" y="0"/>
            <a:ext cx="12193200" cy="6858000"/>
          </a:xfrm>
          <a:prstGeom prst="rect">
            <a:avLst/>
          </a:prstGeom>
          <a:solidFill>
            <a:schemeClr val="bg2"/>
          </a:solidFill>
        </p:spPr>
        <p:txBody>
          <a:bodyPr lIns="3240000" rtlCol="0" anchor="ctr">
            <a:normAutofit/>
          </a:bodyPr>
          <a:lstStyle>
            <a:lvl1pPr marL="0" indent="0" algn="l">
              <a:buNone/>
              <a:defRPr>
                <a:solidFill>
                  <a:srgbClr val="000000"/>
                </a:solidFill>
              </a:defRPr>
            </a:lvl1pPr>
          </a:lstStyle>
          <a:p>
            <a:pPr lvl="0"/>
            <a:r>
              <a:rPr lang="en-US" noProof="0"/>
              <a:t>Click icon to add picture</a:t>
            </a:r>
            <a:endParaRPr lang="en-US" noProof="0" dirty="0"/>
          </a:p>
        </p:txBody>
      </p:sp>
      <p:sp>
        <p:nvSpPr>
          <p:cNvPr id="7"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9" name="Text Placeholder 6"/>
          <p:cNvSpPr>
            <a:spLocks noGrp="1"/>
          </p:cNvSpPr>
          <p:nvPr>
            <p:ph type="body" sz="quarter" idx="17"/>
          </p:nvPr>
        </p:nvSpPr>
        <p:spPr>
          <a:xfrm>
            <a:off x="7215808" y="3429000"/>
            <a:ext cx="4996800" cy="2880000"/>
          </a:xfrm>
          <a:solidFill>
            <a:schemeClr val="tx1"/>
          </a:solidFill>
        </p:spPr>
        <p:txBody>
          <a:bodyPr lIns="540000" tIns="180000" rIns="540000" bIns="180000" anchor="ct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7C7EE546-0736-0A3C-E803-CDCCEF9863CF}"/>
              </a:ext>
            </a:extLst>
          </p:cNvPr>
          <p:cNvSpPr>
            <a:spLocks noGrp="1"/>
          </p:cNvSpPr>
          <p:nvPr>
            <p:ph type="sldNum" sz="quarter" idx="18"/>
          </p:nvPr>
        </p:nvSpPr>
        <p:spPr/>
        <p:txBody>
          <a:bodyPr/>
          <a:lstStyle>
            <a:lvl1pPr algn="r">
              <a:defRPr sz="1000">
                <a:solidFill>
                  <a:srgbClr val="000000"/>
                </a:solidFill>
              </a:defRPr>
            </a:lvl1pPr>
          </a:lstStyle>
          <a:p>
            <a:pPr>
              <a:defRPr/>
            </a:pPr>
            <a:fld id="{F7DF7EFD-8BA1-4A07-986B-14E59C0071DD}" type="slidenum">
              <a:rPr lang="en-GB"/>
              <a:pPr>
                <a:defRPr/>
              </a:pPr>
              <a:t>‹#›</a:t>
            </a:fld>
            <a:endParaRPr lang="en-GB" dirty="0"/>
          </a:p>
        </p:txBody>
      </p:sp>
    </p:spTree>
    <p:extLst>
      <p:ext uri="{BB962C8B-B14F-4D97-AF65-F5344CB8AC3E}">
        <p14:creationId xmlns:p14="http://schemas.microsoft.com/office/powerpoint/2010/main" val="2496851034"/>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extMsg_BlueBG_lower_right+Full_image_dark">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0" y="0"/>
            <a:ext cx="12193200" cy="6858000"/>
          </a:xfrm>
          <a:prstGeom prst="rect">
            <a:avLst/>
          </a:prstGeom>
          <a:solidFill>
            <a:schemeClr val="accent6"/>
          </a:solidFill>
        </p:spPr>
        <p:txBody>
          <a:bodyPr lIns="3240000" rtlCol="0" anchor="ctr">
            <a:normAutofit/>
          </a:bodyPr>
          <a:lstStyle>
            <a:lvl1pPr marL="0" indent="0" algn="l">
              <a:buNone/>
              <a:defRPr>
                <a:solidFill>
                  <a:schemeClr val="bg1"/>
                </a:solidFill>
              </a:defRPr>
            </a:lvl1pPr>
          </a:lstStyle>
          <a:p>
            <a:pPr lvl="0"/>
            <a:r>
              <a:rPr lang="en-US" noProof="0"/>
              <a:t>Click icon to add picture</a:t>
            </a:r>
            <a:endParaRPr lang="en-US" noProof="0" dirty="0"/>
          </a:p>
        </p:txBody>
      </p:sp>
      <p:sp>
        <p:nvSpPr>
          <p:cNvPr id="6"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8" name="Text Placeholder 6"/>
          <p:cNvSpPr>
            <a:spLocks noGrp="1"/>
          </p:cNvSpPr>
          <p:nvPr>
            <p:ph type="body" sz="quarter" idx="17"/>
          </p:nvPr>
        </p:nvSpPr>
        <p:spPr>
          <a:xfrm>
            <a:off x="7215808" y="3429000"/>
            <a:ext cx="4996800" cy="2880000"/>
          </a:xfrm>
          <a:solidFill>
            <a:schemeClr val="tx1"/>
          </a:solidFill>
        </p:spPr>
        <p:txBody>
          <a:bodyPr lIns="540000" tIns="180000" rIns="540000" bIns="180000" anchor="ct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0A19809A-4437-8D0F-2C06-9E1F575450FC}"/>
              </a:ext>
            </a:extLst>
          </p:cNvPr>
          <p:cNvSpPr>
            <a:spLocks noGrp="1"/>
          </p:cNvSpPr>
          <p:nvPr>
            <p:ph type="sldNum" sz="quarter" idx="18"/>
          </p:nvPr>
        </p:nvSpPr>
        <p:spPr/>
        <p:txBody>
          <a:bodyPr/>
          <a:lstStyle>
            <a:lvl1pPr algn="r">
              <a:defRPr sz="1000">
                <a:solidFill>
                  <a:schemeClr val="bg1"/>
                </a:solidFill>
              </a:defRPr>
            </a:lvl1pPr>
          </a:lstStyle>
          <a:p>
            <a:pPr>
              <a:defRPr/>
            </a:pPr>
            <a:fld id="{95BDCACF-05F7-406B-870F-56C378E31CF4}" type="slidenum">
              <a:rPr lang="en-GB"/>
              <a:pPr>
                <a:defRPr/>
              </a:pPr>
              <a:t>‹#›</a:t>
            </a:fld>
            <a:endParaRPr lang="en-GB" dirty="0"/>
          </a:p>
        </p:txBody>
      </p:sp>
    </p:spTree>
    <p:extLst>
      <p:ext uri="{BB962C8B-B14F-4D97-AF65-F5344CB8AC3E}">
        <p14:creationId xmlns:p14="http://schemas.microsoft.com/office/powerpoint/2010/main" val="355843286"/>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xtMsg_BlueBG_Lower_left+Full_image_light">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0" y="0"/>
            <a:ext cx="12193200" cy="6858000"/>
          </a:xfrm>
          <a:prstGeom prst="rect">
            <a:avLst/>
          </a:prstGeom>
          <a:solidFill>
            <a:schemeClr val="bg2"/>
          </a:solidFill>
        </p:spPr>
        <p:txBody>
          <a:bodyPr rIns="3240000" rtlCol="0" anchor="ctr">
            <a:normAutofit/>
          </a:bodyPr>
          <a:lstStyle>
            <a:lvl1pPr marL="0" indent="0" algn="r">
              <a:buNone/>
              <a:defRPr>
                <a:solidFill>
                  <a:srgbClr val="000000"/>
                </a:solidFill>
              </a:defRPr>
            </a:lvl1pPr>
          </a:lstStyle>
          <a:p>
            <a:pPr lvl="0"/>
            <a:r>
              <a:rPr lang="en-US" noProof="0"/>
              <a:t>Click icon to add picture</a:t>
            </a:r>
            <a:endParaRPr lang="en-US" noProof="0" dirty="0"/>
          </a:p>
        </p:txBody>
      </p:sp>
      <p:sp>
        <p:nvSpPr>
          <p:cNvPr id="7"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9" name="Text Placeholder 6"/>
          <p:cNvSpPr>
            <a:spLocks noGrp="1"/>
          </p:cNvSpPr>
          <p:nvPr>
            <p:ph type="body" sz="quarter" idx="17"/>
          </p:nvPr>
        </p:nvSpPr>
        <p:spPr>
          <a:xfrm>
            <a:off x="0" y="3429000"/>
            <a:ext cx="4996800" cy="2880000"/>
          </a:xfrm>
          <a:solidFill>
            <a:schemeClr val="tx1"/>
          </a:solidFill>
        </p:spPr>
        <p:txBody>
          <a:bodyPr lIns="540000" tIns="180000" rIns="540000" bIns="180000" anchor="ct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D99A84B1-8567-77EB-F5BF-D7F397EA664A}"/>
              </a:ext>
            </a:extLst>
          </p:cNvPr>
          <p:cNvSpPr>
            <a:spLocks noGrp="1"/>
          </p:cNvSpPr>
          <p:nvPr>
            <p:ph type="sldNum" sz="quarter" idx="18"/>
          </p:nvPr>
        </p:nvSpPr>
        <p:spPr/>
        <p:txBody>
          <a:bodyPr/>
          <a:lstStyle>
            <a:lvl1pPr algn="r">
              <a:defRPr sz="1000">
                <a:solidFill>
                  <a:srgbClr val="000000"/>
                </a:solidFill>
              </a:defRPr>
            </a:lvl1pPr>
          </a:lstStyle>
          <a:p>
            <a:pPr>
              <a:defRPr/>
            </a:pPr>
            <a:fld id="{8942F7FD-0E1D-4FA3-910D-B61E4FB06218}" type="slidenum">
              <a:rPr lang="en-GB"/>
              <a:pPr>
                <a:defRPr/>
              </a:pPr>
              <a:t>‹#›</a:t>
            </a:fld>
            <a:endParaRPr lang="en-GB" dirty="0"/>
          </a:p>
        </p:txBody>
      </p:sp>
    </p:spTree>
    <p:extLst>
      <p:ext uri="{BB962C8B-B14F-4D97-AF65-F5344CB8AC3E}">
        <p14:creationId xmlns:p14="http://schemas.microsoft.com/office/powerpoint/2010/main" val="1263283425"/>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extMsg_BlueBG_lower_left+Full_image_dark">
    <p:spTree>
      <p:nvGrpSpPr>
        <p:cNvPr id="1" name=""/>
        <p:cNvGrpSpPr/>
        <p:nvPr/>
      </p:nvGrpSpPr>
      <p:grpSpPr>
        <a:xfrm>
          <a:off x="0" y="0"/>
          <a:ext cx="0" cy="0"/>
          <a:chOff x="0" y="0"/>
          <a:chExt cx="0" cy="0"/>
        </a:xfrm>
      </p:grpSpPr>
      <p:sp>
        <p:nvSpPr>
          <p:cNvPr id="5" name="Picture Placeholder 3"/>
          <p:cNvSpPr>
            <a:spLocks noGrp="1"/>
          </p:cNvSpPr>
          <p:nvPr>
            <p:ph type="pic" sz="quarter" idx="10"/>
          </p:nvPr>
        </p:nvSpPr>
        <p:spPr>
          <a:xfrm>
            <a:off x="0" y="0"/>
            <a:ext cx="12193200" cy="6858000"/>
          </a:xfrm>
          <a:prstGeom prst="rect">
            <a:avLst/>
          </a:prstGeom>
          <a:solidFill>
            <a:schemeClr val="accent6"/>
          </a:solidFill>
        </p:spPr>
        <p:txBody>
          <a:bodyPr rIns="3240000" rtlCol="0" anchor="ctr">
            <a:normAutofit/>
          </a:bodyPr>
          <a:lstStyle>
            <a:lvl1pPr marL="0" indent="0" algn="r">
              <a:buNone/>
              <a:defRPr>
                <a:solidFill>
                  <a:schemeClr val="bg1"/>
                </a:solidFill>
              </a:defRPr>
            </a:lvl1pPr>
          </a:lstStyle>
          <a:p>
            <a:pPr lvl="0"/>
            <a:r>
              <a:rPr lang="en-US" noProof="0"/>
              <a:t>Click icon to add picture</a:t>
            </a:r>
            <a:endParaRPr lang="en-US" noProof="0" dirty="0"/>
          </a:p>
        </p:txBody>
      </p:sp>
      <p:sp>
        <p:nvSpPr>
          <p:cNvPr id="6" name="Kn Logo"/>
          <p:cNvSpPr>
            <a:spLocks noGrp="1"/>
          </p:cNvSpPr>
          <p:nvPr>
            <p:ph type="body" sz="quarter" idx="16"/>
          </p:nvPr>
        </p:nvSpPr>
        <p:spPr>
          <a:xfrm>
            <a:off x="9722079" y="560699"/>
            <a:ext cx="1908000" cy="378000"/>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8" name="Text Placeholder 6"/>
          <p:cNvSpPr>
            <a:spLocks noGrp="1"/>
          </p:cNvSpPr>
          <p:nvPr>
            <p:ph type="body" sz="quarter" idx="17"/>
          </p:nvPr>
        </p:nvSpPr>
        <p:spPr>
          <a:xfrm>
            <a:off x="0" y="3429000"/>
            <a:ext cx="4996800" cy="2880000"/>
          </a:xfrm>
          <a:solidFill>
            <a:schemeClr val="tx1"/>
          </a:solidFill>
        </p:spPr>
        <p:txBody>
          <a:bodyPr lIns="540000" tIns="180000" rIns="540000" bIns="180000" anchor="ct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7E3E6CE4-FCD6-DB51-6910-1455876204FB}"/>
              </a:ext>
            </a:extLst>
          </p:cNvPr>
          <p:cNvSpPr>
            <a:spLocks noGrp="1"/>
          </p:cNvSpPr>
          <p:nvPr>
            <p:ph type="sldNum" sz="quarter" idx="18"/>
          </p:nvPr>
        </p:nvSpPr>
        <p:spPr/>
        <p:txBody>
          <a:bodyPr/>
          <a:lstStyle>
            <a:lvl1pPr algn="r">
              <a:defRPr sz="1000">
                <a:solidFill>
                  <a:schemeClr val="bg1"/>
                </a:solidFill>
              </a:defRPr>
            </a:lvl1pPr>
          </a:lstStyle>
          <a:p>
            <a:pPr>
              <a:defRPr/>
            </a:pPr>
            <a:fld id="{FC9C19AF-EA62-438A-BC63-195FD4B546E5}" type="slidenum">
              <a:rPr lang="en-GB"/>
              <a:pPr>
                <a:defRPr/>
              </a:pPr>
              <a:t>‹#›</a:t>
            </a:fld>
            <a:endParaRPr lang="en-GB" dirty="0"/>
          </a:p>
        </p:txBody>
      </p:sp>
    </p:spTree>
    <p:extLst>
      <p:ext uri="{BB962C8B-B14F-4D97-AF65-F5344CB8AC3E}">
        <p14:creationId xmlns:p14="http://schemas.microsoft.com/office/powerpoint/2010/main" val="1295465763"/>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Msg+Monitor_image">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4320D432-2CEB-7CA6-89CA-629BC14777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2750" y="1828800"/>
            <a:ext cx="5694363" cy="458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1"/>
          </p:nvPr>
        </p:nvSpPr>
        <p:spPr>
          <a:xfrm>
            <a:off x="6656285" y="2002827"/>
            <a:ext cx="4975430" cy="3600000"/>
          </a:xfrm>
          <a:prstGeom prst="rect">
            <a:avLst/>
          </a:prstGeom>
        </p:spPr>
        <p:txBody>
          <a:bodyPr anchor="ctr">
            <a:noAutofit/>
          </a:bodyPr>
          <a:lstStyle>
            <a:lvl1pPr marL="0" indent="0">
              <a:lnSpc>
                <a:spcPct val="100000"/>
              </a:lnSpc>
              <a:spcBef>
                <a:spcPts val="0"/>
              </a:spcBef>
              <a:spcAft>
                <a:spcPts val="1200"/>
              </a:spcAft>
              <a:buNone/>
              <a:defRPr sz="3600" b="1" baseline="0">
                <a:solidFill>
                  <a:srgbClr val="000000"/>
                </a:solidFill>
              </a:defRPr>
            </a:lvl1pPr>
          </a:lstStyle>
          <a:p>
            <a:pPr lvl="0"/>
            <a:r>
              <a:rPr lang="en-US" noProof="0"/>
              <a:t>Click to edit Master text styles</a:t>
            </a:r>
          </a:p>
        </p:txBody>
      </p:sp>
      <p:sp>
        <p:nvSpPr>
          <p:cNvPr id="11" name="Picture Placeholder 5"/>
          <p:cNvSpPr>
            <a:spLocks noGrp="1"/>
          </p:cNvSpPr>
          <p:nvPr>
            <p:ph type="pic" sz="quarter" idx="13"/>
          </p:nvPr>
        </p:nvSpPr>
        <p:spPr>
          <a:xfrm>
            <a:off x="905393" y="2214474"/>
            <a:ext cx="4680000" cy="2787831"/>
          </a:xfrm>
          <a:prstGeom prst="rect">
            <a:avLst/>
          </a:prstGeom>
          <a:effectLst>
            <a:innerShdw blurRad="114300">
              <a:prstClr val="black"/>
            </a:innerShdw>
          </a:effectLst>
        </p:spPr>
        <p:txBody>
          <a:bodyPr tIns="684000" rtlCol="0">
            <a:normAutofit/>
          </a:bodyPr>
          <a:lstStyle>
            <a:lvl1pPr marL="0" indent="0" algn="ctr">
              <a:buNone/>
              <a:defRPr sz="1800">
                <a:solidFill>
                  <a:srgbClr val="000000"/>
                </a:solidFill>
              </a:defRPr>
            </a:lvl1pPr>
          </a:lstStyle>
          <a:p>
            <a:pPr lvl="0"/>
            <a:r>
              <a:rPr lang="en-US" noProof="0"/>
              <a:t>Click icon to add picture</a:t>
            </a:r>
            <a:endParaRPr lang="en-CA" noProof="0" dirty="0"/>
          </a:p>
        </p:txBody>
      </p:sp>
      <p:sp>
        <p:nvSpPr>
          <p:cNvPr id="9" name="Titel 4"/>
          <p:cNvSpPr>
            <a:spLocks noGrp="1"/>
          </p:cNvSpPr>
          <p:nvPr>
            <p:ph type="title"/>
          </p:nvPr>
        </p:nvSpPr>
        <p:spPr>
          <a:xfrm>
            <a:off x="553321" y="550779"/>
            <a:ext cx="8314454" cy="864136"/>
          </a:xfrm>
        </p:spPr>
        <p:txBody>
          <a:bodyPr/>
          <a:lstStyle/>
          <a:p>
            <a:pPr lvl="0"/>
            <a:r>
              <a:rPr lang="en-US" noProof="0"/>
              <a:t>Click to edit Master title style</a:t>
            </a:r>
            <a:endParaRPr lang="de-DE" dirty="0"/>
          </a:p>
        </p:txBody>
      </p:sp>
      <p:sp>
        <p:nvSpPr>
          <p:cNvPr id="3" name="Slide Number Placeholder 3">
            <a:extLst>
              <a:ext uri="{FF2B5EF4-FFF2-40B4-BE49-F238E27FC236}">
                <a16:creationId xmlns:a16="http://schemas.microsoft.com/office/drawing/2014/main" id="{EBB7DB02-E1A6-2E21-A6ED-CBDC9D27642F}"/>
              </a:ext>
            </a:extLst>
          </p:cNvPr>
          <p:cNvSpPr>
            <a:spLocks noGrp="1"/>
          </p:cNvSpPr>
          <p:nvPr>
            <p:ph type="sldNum" sz="quarter" idx="14"/>
          </p:nvPr>
        </p:nvSpPr>
        <p:spPr/>
        <p:txBody>
          <a:bodyPr/>
          <a:lstStyle>
            <a:lvl1pPr algn="r">
              <a:defRPr sz="1000">
                <a:solidFill>
                  <a:srgbClr val="000000"/>
                </a:solidFill>
              </a:defRPr>
            </a:lvl1pPr>
          </a:lstStyle>
          <a:p>
            <a:pPr>
              <a:defRPr/>
            </a:pPr>
            <a:fld id="{BF76F5AC-CB38-4A3D-92CF-9E7BA10BA849}" type="slidenum">
              <a:rPr lang="en-GB"/>
              <a:pPr>
                <a:defRPr/>
              </a:pPr>
              <a:t>‹#›</a:t>
            </a:fld>
            <a:endParaRPr lang="en-GB" dirty="0"/>
          </a:p>
        </p:txBody>
      </p:sp>
    </p:spTree>
    <p:extLst>
      <p:ext uri="{BB962C8B-B14F-4D97-AF65-F5344CB8AC3E}">
        <p14:creationId xmlns:p14="http://schemas.microsoft.com/office/powerpoint/2010/main" val="1869964204"/>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Arrow_forward_Text_colour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1A52B63-0D6B-77E2-2248-29AE31F551D9}"/>
              </a:ext>
            </a:extLst>
          </p:cNvPr>
          <p:cNvSpPr/>
          <p:nvPr/>
        </p:nvSpPr>
        <p:spPr>
          <a:xfrm>
            <a:off x="2203450" y="3440113"/>
            <a:ext cx="9988550" cy="28797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de-DE" sz="1351"/>
          </a:p>
        </p:txBody>
      </p:sp>
      <p:sp>
        <p:nvSpPr>
          <p:cNvPr id="3" name="Rectangle 2">
            <a:extLst>
              <a:ext uri="{FF2B5EF4-FFF2-40B4-BE49-F238E27FC236}">
                <a16:creationId xmlns:a16="http://schemas.microsoft.com/office/drawing/2014/main" id="{3DC8EF1D-BB63-DB78-14A2-181038DF1C1C}"/>
              </a:ext>
            </a:extLst>
          </p:cNvPr>
          <p:cNvSpPr/>
          <p:nvPr/>
        </p:nvSpPr>
        <p:spPr>
          <a:xfrm>
            <a:off x="0" y="560388"/>
            <a:ext cx="5543550" cy="28797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de-DE" sz="1351"/>
          </a:p>
        </p:txBody>
      </p:sp>
      <p:sp>
        <p:nvSpPr>
          <p:cNvPr id="4" name="Freeform 5">
            <a:extLst>
              <a:ext uri="{FF2B5EF4-FFF2-40B4-BE49-F238E27FC236}">
                <a16:creationId xmlns:a16="http://schemas.microsoft.com/office/drawing/2014/main" id="{3F8B49CA-4937-A240-0F90-E2C9C0A35787}"/>
              </a:ext>
            </a:extLst>
          </p:cNvPr>
          <p:cNvSpPr>
            <a:spLocks/>
          </p:cNvSpPr>
          <p:nvPr/>
        </p:nvSpPr>
        <p:spPr bwMode="auto">
          <a:xfrm>
            <a:off x="8442325" y="3854450"/>
            <a:ext cx="2447925" cy="2049463"/>
          </a:xfrm>
          <a:custGeom>
            <a:avLst/>
            <a:gdLst>
              <a:gd name="T0" fmla="*/ 2447925 w 1542"/>
              <a:gd name="T1" fmla="*/ 1025525 h 1291"/>
              <a:gd name="T2" fmla="*/ 1422400 w 1542"/>
              <a:gd name="T3" fmla="*/ 0 h 1291"/>
              <a:gd name="T4" fmla="*/ 1216025 w 1542"/>
              <a:gd name="T5" fmla="*/ 206375 h 1291"/>
              <a:gd name="T6" fmla="*/ 1878013 w 1542"/>
              <a:gd name="T7" fmla="*/ 866775 h 1291"/>
              <a:gd name="T8" fmla="*/ 0 w 1542"/>
              <a:gd name="T9" fmla="*/ 866775 h 1291"/>
              <a:gd name="T10" fmla="*/ 0 w 1542"/>
              <a:gd name="T11" fmla="*/ 1157288 h 1291"/>
              <a:gd name="T12" fmla="*/ 1901825 w 1542"/>
              <a:gd name="T13" fmla="*/ 1157288 h 1291"/>
              <a:gd name="T14" fmla="*/ 1216025 w 1542"/>
              <a:gd name="T15" fmla="*/ 1843088 h 1291"/>
              <a:gd name="T16" fmla="*/ 1422400 w 1542"/>
              <a:gd name="T17" fmla="*/ 2049463 h 1291"/>
              <a:gd name="T18" fmla="*/ 2447925 w 1542"/>
              <a:gd name="T19" fmla="*/ 1025525 h 1291"/>
              <a:gd name="T20" fmla="*/ 2447925 w 1542"/>
              <a:gd name="T21" fmla="*/ 1025525 h 1291"/>
              <a:gd name="T22" fmla="*/ 2447925 w 1542"/>
              <a:gd name="T23" fmla="*/ 1025525 h 129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42" h="1291">
                <a:moveTo>
                  <a:pt x="1542" y="646"/>
                </a:moveTo>
                <a:lnTo>
                  <a:pt x="896" y="0"/>
                </a:lnTo>
                <a:lnTo>
                  <a:pt x="766" y="130"/>
                </a:lnTo>
                <a:lnTo>
                  <a:pt x="1183" y="546"/>
                </a:lnTo>
                <a:lnTo>
                  <a:pt x="0" y="546"/>
                </a:lnTo>
                <a:lnTo>
                  <a:pt x="0" y="729"/>
                </a:lnTo>
                <a:lnTo>
                  <a:pt x="1198" y="729"/>
                </a:lnTo>
                <a:lnTo>
                  <a:pt x="766" y="1161"/>
                </a:lnTo>
                <a:lnTo>
                  <a:pt x="896" y="1291"/>
                </a:lnTo>
                <a:lnTo>
                  <a:pt x="1542" y="6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Text placeholder"/>
          <p:cNvSpPr>
            <a:spLocks noGrp="1"/>
          </p:cNvSpPr>
          <p:nvPr>
            <p:ph type="body" sz="quarter" idx="14"/>
          </p:nvPr>
        </p:nvSpPr>
        <p:spPr>
          <a:xfrm>
            <a:off x="1" y="560390"/>
            <a:ext cx="5527964" cy="2879016"/>
          </a:xfrm>
          <a:prstGeom prst="rect">
            <a:avLst/>
          </a:prstGeom>
        </p:spPr>
        <p:txBody>
          <a:bodyPr anchor="ctr">
            <a:noAutofit/>
          </a:bodyPr>
          <a:lstStyle>
            <a:lvl1pPr marL="0" indent="0" algn="ctr">
              <a:lnSpc>
                <a:spcPct val="100000"/>
              </a:lnSpc>
              <a:spcBef>
                <a:spcPts val="0"/>
              </a:spcBef>
              <a:buNone/>
              <a:defRPr sz="18000" b="1" baseline="0">
                <a:solidFill>
                  <a:schemeClr val="bg1"/>
                </a:solidFill>
              </a:defRPr>
            </a:lvl1pPr>
          </a:lstStyle>
          <a:p>
            <a:pPr lvl="0"/>
            <a:r>
              <a:rPr lang="en-US" noProof="0"/>
              <a:t>Click to edit Master text styles</a:t>
            </a:r>
          </a:p>
        </p:txBody>
      </p:sp>
      <p:sp>
        <p:nvSpPr>
          <p:cNvPr id="8" name="Text Placeholder 6"/>
          <p:cNvSpPr>
            <a:spLocks noGrp="1"/>
          </p:cNvSpPr>
          <p:nvPr>
            <p:ph type="body" sz="quarter" idx="17"/>
          </p:nvPr>
        </p:nvSpPr>
        <p:spPr>
          <a:xfrm>
            <a:off x="2762088" y="3439406"/>
            <a:ext cx="5241600" cy="2880000"/>
          </a:xfrm>
        </p:spPr>
        <p:txBody>
          <a:bodyPr anchor="ct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5" name="Slide Number Placeholder 3">
            <a:extLst>
              <a:ext uri="{FF2B5EF4-FFF2-40B4-BE49-F238E27FC236}">
                <a16:creationId xmlns:a16="http://schemas.microsoft.com/office/drawing/2014/main" id="{A7D16A8D-088D-2ADA-754A-3CE8CD5E54EC}"/>
              </a:ext>
            </a:extLst>
          </p:cNvPr>
          <p:cNvSpPr>
            <a:spLocks noGrp="1"/>
          </p:cNvSpPr>
          <p:nvPr>
            <p:ph type="sldNum" sz="quarter" idx="18"/>
          </p:nvPr>
        </p:nvSpPr>
        <p:spPr/>
        <p:txBody>
          <a:bodyPr/>
          <a:lstStyle>
            <a:lvl1pPr algn="r">
              <a:defRPr sz="1000">
                <a:solidFill>
                  <a:srgbClr val="000000"/>
                </a:solidFill>
              </a:defRPr>
            </a:lvl1pPr>
          </a:lstStyle>
          <a:p>
            <a:pPr>
              <a:defRPr/>
            </a:pPr>
            <a:fld id="{5586205A-F85D-4BAA-95EE-191AF6F6DA4F}" type="slidenum">
              <a:rPr lang="en-GB"/>
              <a:pPr>
                <a:defRPr/>
              </a:pPr>
              <a:t>‹#›</a:t>
            </a:fld>
            <a:endParaRPr lang="en-GB" dirty="0"/>
          </a:p>
        </p:txBody>
      </p:sp>
    </p:spTree>
    <p:extLst>
      <p:ext uri="{BB962C8B-B14F-4D97-AF65-F5344CB8AC3E}">
        <p14:creationId xmlns:p14="http://schemas.microsoft.com/office/powerpoint/2010/main" val="2498039782"/>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_white_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3253850"/>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rrow_forward_Text_colour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3E3AAAF-0E98-B8D3-1FD3-8A4AACCB7FB5}"/>
              </a:ext>
            </a:extLst>
          </p:cNvPr>
          <p:cNvSpPr/>
          <p:nvPr/>
        </p:nvSpPr>
        <p:spPr>
          <a:xfrm>
            <a:off x="2203450" y="3440113"/>
            <a:ext cx="9988550" cy="28797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de-DE" sz="1351"/>
          </a:p>
        </p:txBody>
      </p:sp>
      <p:sp>
        <p:nvSpPr>
          <p:cNvPr id="3" name="Rectangle 2">
            <a:extLst>
              <a:ext uri="{FF2B5EF4-FFF2-40B4-BE49-F238E27FC236}">
                <a16:creationId xmlns:a16="http://schemas.microsoft.com/office/drawing/2014/main" id="{32427031-83A3-7DE4-FD6C-DA9A938D1BD7}"/>
              </a:ext>
            </a:extLst>
          </p:cNvPr>
          <p:cNvSpPr/>
          <p:nvPr/>
        </p:nvSpPr>
        <p:spPr>
          <a:xfrm>
            <a:off x="0" y="560388"/>
            <a:ext cx="5543550" cy="2879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de-DE" sz="1351"/>
          </a:p>
        </p:txBody>
      </p:sp>
      <p:sp>
        <p:nvSpPr>
          <p:cNvPr id="4" name="Freeform 5">
            <a:extLst>
              <a:ext uri="{FF2B5EF4-FFF2-40B4-BE49-F238E27FC236}">
                <a16:creationId xmlns:a16="http://schemas.microsoft.com/office/drawing/2014/main" id="{305A2F50-F3F0-7D2D-E9E9-5F11F0F8DC4C}"/>
              </a:ext>
            </a:extLst>
          </p:cNvPr>
          <p:cNvSpPr>
            <a:spLocks/>
          </p:cNvSpPr>
          <p:nvPr/>
        </p:nvSpPr>
        <p:spPr bwMode="auto">
          <a:xfrm>
            <a:off x="8429625" y="3844925"/>
            <a:ext cx="2473325" cy="2068513"/>
          </a:xfrm>
          <a:custGeom>
            <a:avLst/>
            <a:gdLst>
              <a:gd name="T0" fmla="*/ 2473325 w 1558"/>
              <a:gd name="T1" fmla="*/ 1035050 h 1303"/>
              <a:gd name="T2" fmla="*/ 1436688 w 1558"/>
              <a:gd name="T3" fmla="*/ 0 h 1303"/>
              <a:gd name="T4" fmla="*/ 1228725 w 1558"/>
              <a:gd name="T5" fmla="*/ 207963 h 1303"/>
              <a:gd name="T6" fmla="*/ 1897063 w 1558"/>
              <a:gd name="T7" fmla="*/ 874713 h 1303"/>
              <a:gd name="T8" fmla="*/ 0 w 1558"/>
              <a:gd name="T9" fmla="*/ 874713 h 1303"/>
              <a:gd name="T10" fmla="*/ 0 w 1558"/>
              <a:gd name="T11" fmla="*/ 1168400 h 1303"/>
              <a:gd name="T12" fmla="*/ 1922463 w 1558"/>
              <a:gd name="T13" fmla="*/ 1168400 h 1303"/>
              <a:gd name="T14" fmla="*/ 1228725 w 1558"/>
              <a:gd name="T15" fmla="*/ 1860550 h 1303"/>
              <a:gd name="T16" fmla="*/ 1436688 w 1558"/>
              <a:gd name="T17" fmla="*/ 2068513 h 1303"/>
              <a:gd name="T18" fmla="*/ 2473325 w 1558"/>
              <a:gd name="T19" fmla="*/ 1035050 h 1303"/>
              <a:gd name="T20" fmla="*/ 2473325 w 1558"/>
              <a:gd name="T21" fmla="*/ 1035050 h 1303"/>
              <a:gd name="T22" fmla="*/ 2473325 w 1558"/>
              <a:gd name="T23" fmla="*/ 1035050 h 130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58" h="1303">
                <a:moveTo>
                  <a:pt x="1558" y="652"/>
                </a:moveTo>
                <a:lnTo>
                  <a:pt x="905" y="0"/>
                </a:lnTo>
                <a:lnTo>
                  <a:pt x="774" y="131"/>
                </a:lnTo>
                <a:lnTo>
                  <a:pt x="1195" y="551"/>
                </a:lnTo>
                <a:lnTo>
                  <a:pt x="0" y="551"/>
                </a:lnTo>
                <a:lnTo>
                  <a:pt x="0" y="736"/>
                </a:lnTo>
                <a:lnTo>
                  <a:pt x="1211" y="736"/>
                </a:lnTo>
                <a:lnTo>
                  <a:pt x="774" y="1172"/>
                </a:lnTo>
                <a:lnTo>
                  <a:pt x="905" y="1303"/>
                </a:lnTo>
                <a:lnTo>
                  <a:pt x="1558" y="652"/>
                </a:lnTo>
                <a:close/>
              </a:path>
            </a:pathLst>
          </a:custGeom>
          <a:solidFill>
            <a:srgbClr val="0033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Text placeholder"/>
          <p:cNvSpPr>
            <a:spLocks noGrp="1"/>
          </p:cNvSpPr>
          <p:nvPr>
            <p:ph type="body" sz="quarter" idx="14"/>
          </p:nvPr>
        </p:nvSpPr>
        <p:spPr>
          <a:xfrm>
            <a:off x="1" y="560390"/>
            <a:ext cx="5527964" cy="2879016"/>
          </a:xfrm>
          <a:prstGeom prst="rect">
            <a:avLst/>
          </a:prstGeom>
        </p:spPr>
        <p:txBody>
          <a:bodyPr anchor="ctr">
            <a:noAutofit/>
          </a:bodyPr>
          <a:lstStyle>
            <a:lvl1pPr marL="0" indent="0" algn="ctr">
              <a:lnSpc>
                <a:spcPct val="100000"/>
              </a:lnSpc>
              <a:spcBef>
                <a:spcPts val="0"/>
              </a:spcBef>
              <a:buNone/>
              <a:defRPr sz="18000" b="1" baseline="0">
                <a:solidFill>
                  <a:schemeClr val="bg1"/>
                </a:solidFill>
              </a:defRPr>
            </a:lvl1pPr>
          </a:lstStyle>
          <a:p>
            <a:pPr lvl="0"/>
            <a:r>
              <a:rPr lang="en-US" noProof="0"/>
              <a:t>Click to edit Master text styles</a:t>
            </a:r>
          </a:p>
        </p:txBody>
      </p:sp>
      <p:sp>
        <p:nvSpPr>
          <p:cNvPr id="10" name="Text Placeholder 6"/>
          <p:cNvSpPr>
            <a:spLocks noGrp="1"/>
          </p:cNvSpPr>
          <p:nvPr>
            <p:ph type="body" sz="quarter" idx="17"/>
          </p:nvPr>
        </p:nvSpPr>
        <p:spPr>
          <a:xfrm>
            <a:off x="2762088" y="3439406"/>
            <a:ext cx="5241600" cy="2880000"/>
          </a:xfrm>
        </p:spPr>
        <p:txBody>
          <a:bodyPr anchor="ctr">
            <a:noAutofit/>
          </a:bodyPr>
          <a:lstStyle>
            <a:lvl1pPr>
              <a:spcAft>
                <a:spcPts val="1200"/>
              </a:spcAft>
              <a:defRPr sz="3600" b="1">
                <a:solidFill>
                  <a:schemeClr val="bg1"/>
                </a:solidFill>
              </a:defRPr>
            </a:lvl1pPr>
            <a:lvl2pPr>
              <a:defRPr sz="3600"/>
            </a:lvl2pPr>
            <a:lvl3pPr>
              <a:defRPr sz="3600"/>
            </a:lvl3pPr>
            <a:lvl4pPr>
              <a:defRPr sz="3600"/>
            </a:lvl4pPr>
            <a:lvl5pPr>
              <a:defRPr sz="3600"/>
            </a:lvl5pPr>
          </a:lstStyle>
          <a:p>
            <a:pPr lvl="0"/>
            <a:r>
              <a:rPr lang="en-US" noProof="0"/>
              <a:t>Click to edit Master text styles</a:t>
            </a:r>
          </a:p>
        </p:txBody>
      </p:sp>
      <p:sp>
        <p:nvSpPr>
          <p:cNvPr id="5" name="Slide Number Placeholder 3">
            <a:extLst>
              <a:ext uri="{FF2B5EF4-FFF2-40B4-BE49-F238E27FC236}">
                <a16:creationId xmlns:a16="http://schemas.microsoft.com/office/drawing/2014/main" id="{BB4FEAB9-5E12-E843-9961-239A1DE3E36E}"/>
              </a:ext>
            </a:extLst>
          </p:cNvPr>
          <p:cNvSpPr>
            <a:spLocks noGrp="1"/>
          </p:cNvSpPr>
          <p:nvPr>
            <p:ph type="sldNum" sz="quarter" idx="18"/>
          </p:nvPr>
        </p:nvSpPr>
        <p:spPr/>
        <p:txBody>
          <a:bodyPr/>
          <a:lstStyle>
            <a:lvl1pPr algn="r">
              <a:defRPr sz="1000">
                <a:solidFill>
                  <a:srgbClr val="000000"/>
                </a:solidFill>
              </a:defRPr>
            </a:lvl1pPr>
          </a:lstStyle>
          <a:p>
            <a:pPr>
              <a:defRPr/>
            </a:pPr>
            <a:fld id="{9619F519-5E5D-408B-98E7-98B8376E40F2}" type="slidenum">
              <a:rPr lang="en-GB"/>
              <a:pPr>
                <a:defRPr/>
              </a:pPr>
              <a:t>‹#›</a:t>
            </a:fld>
            <a:endParaRPr lang="en-GB" dirty="0"/>
          </a:p>
        </p:txBody>
      </p:sp>
    </p:spTree>
    <p:extLst>
      <p:ext uri="{BB962C8B-B14F-4D97-AF65-F5344CB8AC3E}">
        <p14:creationId xmlns:p14="http://schemas.microsoft.com/office/powerpoint/2010/main" val="2296509747"/>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text_boxes_Blu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1FA6ED-5117-54AB-2A3C-F113947A4F0C}"/>
              </a:ext>
            </a:extLst>
          </p:cNvPr>
          <p:cNvSpPr/>
          <p:nvPr/>
        </p:nvSpPr>
        <p:spPr>
          <a:xfrm>
            <a:off x="0" y="2000250"/>
            <a:ext cx="6096000" cy="4308475"/>
          </a:xfrm>
          <a:prstGeom prst="rect">
            <a:avLst/>
          </a:prstGeom>
          <a:solidFill>
            <a:schemeClr val="accent1"/>
          </a:solidFill>
          <a:ln>
            <a:noFill/>
            <a:miter lim="800000"/>
          </a:ln>
        </p:spPr>
        <p:style>
          <a:lnRef idx="2">
            <a:schemeClr val="accent6"/>
          </a:lnRef>
          <a:fillRef idx="1">
            <a:schemeClr val="lt1"/>
          </a:fillRef>
          <a:effectRef idx="0">
            <a:schemeClr val="accent6"/>
          </a:effectRef>
          <a:fontRef idx="minor">
            <a:schemeClr val="dk1"/>
          </a:fontRef>
        </p:style>
        <p:txBody>
          <a:bodyPr lIns="0" tIns="0" rIns="0" bIns="0" anchor="ctr"/>
          <a:lstStyle/>
          <a:p>
            <a:pPr algn="ctr" defTabSz="914377" eaLnBrk="1" fontAlgn="auto" hangingPunct="1">
              <a:spcBef>
                <a:spcPts val="0"/>
              </a:spcBef>
              <a:spcAft>
                <a:spcPts val="0"/>
              </a:spcAft>
              <a:defRPr/>
            </a:pPr>
            <a:endParaRPr lang="en-GB" sz="2400" dirty="0"/>
          </a:p>
        </p:txBody>
      </p:sp>
      <p:sp>
        <p:nvSpPr>
          <p:cNvPr id="3" name="Rectangle 2">
            <a:extLst>
              <a:ext uri="{FF2B5EF4-FFF2-40B4-BE49-F238E27FC236}">
                <a16:creationId xmlns:a16="http://schemas.microsoft.com/office/drawing/2014/main" id="{2934D6FF-94F5-818A-2EB7-AB64695CCE06}"/>
              </a:ext>
            </a:extLst>
          </p:cNvPr>
          <p:cNvSpPr/>
          <p:nvPr/>
        </p:nvSpPr>
        <p:spPr>
          <a:xfrm>
            <a:off x="6096000" y="2000250"/>
            <a:ext cx="6096000" cy="4308475"/>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lIns="0" tIns="0" rIns="0" bIns="0" anchor="ctr"/>
          <a:lstStyle/>
          <a:p>
            <a:pPr algn="ctr" defTabSz="914377" eaLnBrk="1" fontAlgn="auto" hangingPunct="1">
              <a:spcBef>
                <a:spcPts val="0"/>
              </a:spcBef>
              <a:spcAft>
                <a:spcPts val="0"/>
              </a:spcAft>
              <a:defRPr/>
            </a:pPr>
            <a:endParaRPr lang="en-GB" sz="2400" dirty="0"/>
          </a:p>
        </p:txBody>
      </p:sp>
      <p:sp>
        <p:nvSpPr>
          <p:cNvPr id="6" name="Titel 4"/>
          <p:cNvSpPr>
            <a:spLocks noGrp="1"/>
          </p:cNvSpPr>
          <p:nvPr>
            <p:ph type="title"/>
          </p:nvPr>
        </p:nvSpPr>
        <p:spPr>
          <a:xfrm>
            <a:off x="553321" y="550779"/>
            <a:ext cx="8314454" cy="864136"/>
          </a:xfrm>
        </p:spPr>
        <p:txBody>
          <a:bodyPr/>
          <a:lstStyle/>
          <a:p>
            <a:pPr lvl="0"/>
            <a:r>
              <a:rPr lang="en-US" noProof="0"/>
              <a:t>Click to edit Master title style</a:t>
            </a:r>
            <a:endParaRPr lang="de-DE" dirty="0"/>
          </a:p>
        </p:txBody>
      </p:sp>
      <p:sp>
        <p:nvSpPr>
          <p:cNvPr id="11" name="Text Placeholder 15"/>
          <p:cNvSpPr>
            <a:spLocks noGrp="1"/>
          </p:cNvSpPr>
          <p:nvPr>
            <p:ph type="body" sz="quarter" idx="18"/>
          </p:nvPr>
        </p:nvSpPr>
        <p:spPr>
          <a:xfrm>
            <a:off x="563323" y="2000417"/>
            <a:ext cx="4018005" cy="720000"/>
          </a:xfrm>
        </p:spPr>
        <p:txBody>
          <a:bodyPr anchor="b">
            <a:noAutofit/>
          </a:bodyPr>
          <a:lstStyle>
            <a:lvl1pPr marL="0" indent="0" algn="l">
              <a:lnSpc>
                <a:spcPct val="100000"/>
              </a:lnSpc>
              <a:spcBef>
                <a:spcPts val="0"/>
              </a:spcBef>
              <a:buNone/>
              <a:defRPr sz="2400" b="1" baseline="0">
                <a:solidFill>
                  <a:schemeClr val="bg1"/>
                </a:solidFill>
              </a:defRPr>
            </a:lvl1pPr>
          </a:lstStyle>
          <a:p>
            <a:pPr lvl="0"/>
            <a:r>
              <a:rPr lang="en-US" noProof="0"/>
              <a:t>Click to edit Master text styles</a:t>
            </a:r>
          </a:p>
        </p:txBody>
      </p:sp>
      <p:sp>
        <p:nvSpPr>
          <p:cNvPr id="12" name="Text Placeholder 15"/>
          <p:cNvSpPr>
            <a:spLocks noGrp="1"/>
          </p:cNvSpPr>
          <p:nvPr>
            <p:ph type="body" sz="quarter" idx="23"/>
          </p:nvPr>
        </p:nvSpPr>
        <p:spPr>
          <a:xfrm>
            <a:off x="6443330" y="2000417"/>
            <a:ext cx="4018005" cy="720000"/>
          </a:xfrm>
        </p:spPr>
        <p:txBody>
          <a:bodyPr anchor="b">
            <a:noAutofit/>
          </a:bodyPr>
          <a:lstStyle>
            <a:lvl1pPr marL="0" indent="0" algn="l">
              <a:lnSpc>
                <a:spcPct val="100000"/>
              </a:lnSpc>
              <a:spcBef>
                <a:spcPts val="0"/>
              </a:spcBef>
              <a:buNone/>
              <a:defRPr sz="2400" b="1" baseline="0">
                <a:solidFill>
                  <a:schemeClr val="tx2"/>
                </a:solidFill>
              </a:defRPr>
            </a:lvl1pPr>
          </a:lstStyle>
          <a:p>
            <a:pPr lvl="0"/>
            <a:r>
              <a:rPr lang="en-US" noProof="0"/>
              <a:t>Click to edit Master text styles</a:t>
            </a:r>
          </a:p>
        </p:txBody>
      </p:sp>
      <p:sp>
        <p:nvSpPr>
          <p:cNvPr id="13" name="Text Placeholder 15"/>
          <p:cNvSpPr>
            <a:spLocks noGrp="1"/>
          </p:cNvSpPr>
          <p:nvPr>
            <p:ph type="body" sz="quarter" idx="21"/>
          </p:nvPr>
        </p:nvSpPr>
        <p:spPr>
          <a:xfrm>
            <a:off x="6443330" y="2894426"/>
            <a:ext cx="4932000" cy="3132000"/>
          </a:xfrm>
        </p:spPr>
        <p:txBody>
          <a:bodyPr>
            <a:noAutofit/>
          </a:bodyPr>
          <a:lstStyle>
            <a:lvl1pPr marL="285750" indent="-285750" algn="l">
              <a:lnSpc>
                <a:spcPct val="100000"/>
              </a:lnSpc>
              <a:spcBef>
                <a:spcPts val="0"/>
              </a:spcBef>
              <a:spcAft>
                <a:spcPts val="600"/>
              </a:spcAft>
              <a:buFont typeface="Wingdings" panose="05000000000000000000" pitchFamily="2" charset="2"/>
              <a:buChar char="§"/>
              <a:defRPr sz="1800" baseline="0">
                <a:solidFill>
                  <a:schemeClr val="tx2"/>
                </a:solidFill>
              </a:defRPr>
            </a:lvl1pPr>
          </a:lstStyle>
          <a:p>
            <a:pPr lvl="0"/>
            <a:r>
              <a:rPr lang="en-US" noProof="0"/>
              <a:t>Click to edit Master text styles</a:t>
            </a:r>
          </a:p>
          <a:p>
            <a:pPr lvl="1"/>
            <a:r>
              <a:rPr lang="en-US" noProof="0"/>
              <a:t>Second level</a:t>
            </a:r>
          </a:p>
        </p:txBody>
      </p:sp>
      <p:sp>
        <p:nvSpPr>
          <p:cNvPr id="14" name="Text Placeholder 15"/>
          <p:cNvSpPr>
            <a:spLocks noGrp="1"/>
          </p:cNvSpPr>
          <p:nvPr>
            <p:ph type="body" sz="quarter" idx="22"/>
          </p:nvPr>
        </p:nvSpPr>
        <p:spPr>
          <a:xfrm>
            <a:off x="563323" y="2894426"/>
            <a:ext cx="4932000" cy="3132000"/>
          </a:xfrm>
        </p:spPr>
        <p:txBody>
          <a:bodyPr>
            <a:noAutofit/>
          </a:bodyPr>
          <a:lstStyle>
            <a:lvl1pPr marL="285750" indent="-285750" algn="l">
              <a:lnSpc>
                <a:spcPct val="100000"/>
              </a:lnSpc>
              <a:spcBef>
                <a:spcPts val="0"/>
              </a:spcBef>
              <a:spcAft>
                <a:spcPts val="600"/>
              </a:spcAft>
              <a:buFont typeface="Wingdings" panose="05000000000000000000" pitchFamily="2" charset="2"/>
              <a:buChar char="§"/>
              <a:defRPr sz="1800" baseline="0">
                <a:solidFill>
                  <a:schemeClr val="bg1"/>
                </a:solidFill>
              </a:defRPr>
            </a:lvl1pPr>
          </a:lstStyle>
          <a:p>
            <a:pPr lvl="0"/>
            <a:r>
              <a:rPr lang="en-US" noProof="0"/>
              <a:t>Click to edit Master text styles</a:t>
            </a:r>
          </a:p>
          <a:p>
            <a:pPr lvl="1"/>
            <a:r>
              <a:rPr lang="en-US" noProof="0"/>
              <a:t>Second level</a:t>
            </a:r>
          </a:p>
        </p:txBody>
      </p:sp>
      <p:sp>
        <p:nvSpPr>
          <p:cNvPr id="4" name="Slide Number Placeholder 3">
            <a:extLst>
              <a:ext uri="{FF2B5EF4-FFF2-40B4-BE49-F238E27FC236}">
                <a16:creationId xmlns:a16="http://schemas.microsoft.com/office/drawing/2014/main" id="{C191A528-DAA0-BE07-D3CC-F85B875F356D}"/>
              </a:ext>
            </a:extLst>
          </p:cNvPr>
          <p:cNvSpPr>
            <a:spLocks noGrp="1"/>
          </p:cNvSpPr>
          <p:nvPr>
            <p:ph type="sldNum" sz="quarter" idx="24"/>
          </p:nvPr>
        </p:nvSpPr>
        <p:spPr/>
        <p:txBody>
          <a:bodyPr/>
          <a:lstStyle>
            <a:lvl1pPr algn="r">
              <a:defRPr sz="1000">
                <a:solidFill>
                  <a:srgbClr val="000000"/>
                </a:solidFill>
              </a:defRPr>
            </a:lvl1pPr>
          </a:lstStyle>
          <a:p>
            <a:pPr>
              <a:defRPr/>
            </a:pPr>
            <a:fld id="{5FDEDC1E-CF22-43F3-90B1-B52976CE979E}" type="slidenum">
              <a:rPr lang="en-GB"/>
              <a:pPr>
                <a:defRPr/>
              </a:pPr>
              <a:t>‹#›</a:t>
            </a:fld>
            <a:endParaRPr lang="en-GB" dirty="0"/>
          </a:p>
        </p:txBody>
      </p:sp>
    </p:spTree>
    <p:extLst>
      <p:ext uri="{BB962C8B-B14F-4D97-AF65-F5344CB8AC3E}">
        <p14:creationId xmlns:p14="http://schemas.microsoft.com/office/powerpoint/2010/main" val="2459125213"/>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_text_boxes_BlueGrey+arrow">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3D119B-0FA6-D151-3327-BAD7000AF972}"/>
              </a:ext>
            </a:extLst>
          </p:cNvPr>
          <p:cNvSpPr/>
          <p:nvPr/>
        </p:nvSpPr>
        <p:spPr>
          <a:xfrm>
            <a:off x="3335338" y="2000250"/>
            <a:ext cx="4005262" cy="4308475"/>
          </a:xfrm>
          <a:prstGeom prst="rect">
            <a:avLst/>
          </a:prstGeom>
          <a:solidFill>
            <a:schemeClr val="bg2"/>
          </a:solidFill>
          <a:ln>
            <a:noFill/>
            <a:miter lim="800000"/>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GB" sz="2400" dirty="0"/>
          </a:p>
        </p:txBody>
      </p:sp>
      <p:sp>
        <p:nvSpPr>
          <p:cNvPr id="3" name="Rectangle 2">
            <a:extLst>
              <a:ext uri="{FF2B5EF4-FFF2-40B4-BE49-F238E27FC236}">
                <a16:creationId xmlns:a16="http://schemas.microsoft.com/office/drawing/2014/main" id="{DC4EE0AF-A017-DD13-C26B-F3B8F35F793E}"/>
              </a:ext>
            </a:extLst>
          </p:cNvPr>
          <p:cNvSpPr/>
          <p:nvPr/>
        </p:nvSpPr>
        <p:spPr>
          <a:xfrm>
            <a:off x="7632700" y="2000250"/>
            <a:ext cx="4006850" cy="4308475"/>
          </a:xfrm>
          <a:prstGeom prst="rect">
            <a:avLst/>
          </a:prstGeom>
          <a:solidFill>
            <a:schemeClr val="accent1"/>
          </a:solidFill>
          <a:ln>
            <a:noFill/>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GB" sz="2400" dirty="0"/>
          </a:p>
        </p:txBody>
      </p:sp>
      <p:cxnSp>
        <p:nvCxnSpPr>
          <p:cNvPr id="4" name="Straight Connector 3">
            <a:extLst>
              <a:ext uri="{FF2B5EF4-FFF2-40B4-BE49-F238E27FC236}">
                <a16:creationId xmlns:a16="http://schemas.microsoft.com/office/drawing/2014/main" id="{F9009C12-3C87-ED56-1889-8075453CBA74}"/>
              </a:ext>
            </a:extLst>
          </p:cNvPr>
          <p:cNvCxnSpPr/>
          <p:nvPr/>
        </p:nvCxnSpPr>
        <p:spPr>
          <a:xfrm>
            <a:off x="3505200" y="3148013"/>
            <a:ext cx="35464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8D7BDB9-F7CA-1596-EEEC-E45055FEC8B8}"/>
              </a:ext>
            </a:extLst>
          </p:cNvPr>
          <p:cNvCxnSpPr/>
          <p:nvPr/>
        </p:nvCxnSpPr>
        <p:spPr>
          <a:xfrm>
            <a:off x="7862888" y="3148013"/>
            <a:ext cx="35464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Freeform 5">
            <a:extLst>
              <a:ext uri="{FF2B5EF4-FFF2-40B4-BE49-F238E27FC236}">
                <a16:creationId xmlns:a16="http://schemas.microsoft.com/office/drawing/2014/main" id="{B8CE1760-68B5-8DF7-7CB8-780C14388280}"/>
              </a:ext>
            </a:extLst>
          </p:cNvPr>
          <p:cNvSpPr>
            <a:spLocks/>
          </p:cNvSpPr>
          <p:nvPr/>
        </p:nvSpPr>
        <p:spPr bwMode="auto">
          <a:xfrm>
            <a:off x="561975" y="2347913"/>
            <a:ext cx="1958975" cy="1639887"/>
          </a:xfrm>
          <a:custGeom>
            <a:avLst/>
            <a:gdLst>
              <a:gd name="T0" fmla="*/ 1958975 w 1234"/>
              <a:gd name="T1" fmla="*/ 820737 h 1033"/>
              <a:gd name="T2" fmla="*/ 1138238 w 1234"/>
              <a:gd name="T3" fmla="*/ 0 h 1033"/>
              <a:gd name="T4" fmla="*/ 973138 w 1234"/>
              <a:gd name="T5" fmla="*/ 165100 h 1033"/>
              <a:gd name="T6" fmla="*/ 1503363 w 1234"/>
              <a:gd name="T7" fmla="*/ 693737 h 1033"/>
              <a:gd name="T8" fmla="*/ 0 w 1234"/>
              <a:gd name="T9" fmla="*/ 693737 h 1033"/>
              <a:gd name="T10" fmla="*/ 0 w 1234"/>
              <a:gd name="T11" fmla="*/ 927100 h 1033"/>
              <a:gd name="T12" fmla="*/ 1522413 w 1234"/>
              <a:gd name="T13" fmla="*/ 927100 h 1033"/>
              <a:gd name="T14" fmla="*/ 973138 w 1234"/>
              <a:gd name="T15" fmla="*/ 1474787 h 1033"/>
              <a:gd name="T16" fmla="*/ 1138238 w 1234"/>
              <a:gd name="T17" fmla="*/ 1639887 h 1033"/>
              <a:gd name="T18" fmla="*/ 1958975 w 1234"/>
              <a:gd name="T19" fmla="*/ 820737 h 1033"/>
              <a:gd name="T20" fmla="*/ 1958975 w 1234"/>
              <a:gd name="T21" fmla="*/ 820737 h 1033"/>
              <a:gd name="T22" fmla="*/ 1958975 w 1234"/>
              <a:gd name="T23" fmla="*/ 820737 h 10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34" h="1033">
                <a:moveTo>
                  <a:pt x="1234" y="517"/>
                </a:moveTo>
                <a:lnTo>
                  <a:pt x="717" y="0"/>
                </a:lnTo>
                <a:lnTo>
                  <a:pt x="613" y="104"/>
                </a:lnTo>
                <a:lnTo>
                  <a:pt x="947" y="437"/>
                </a:lnTo>
                <a:lnTo>
                  <a:pt x="0" y="437"/>
                </a:lnTo>
                <a:lnTo>
                  <a:pt x="0" y="584"/>
                </a:lnTo>
                <a:lnTo>
                  <a:pt x="959" y="584"/>
                </a:lnTo>
                <a:lnTo>
                  <a:pt x="613" y="929"/>
                </a:lnTo>
                <a:lnTo>
                  <a:pt x="717" y="1033"/>
                </a:lnTo>
                <a:lnTo>
                  <a:pt x="1234" y="517"/>
                </a:lnTo>
                <a:close/>
              </a:path>
            </a:pathLst>
          </a:custGeom>
          <a:solidFill>
            <a:srgbClr val="0033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Titel 4"/>
          <p:cNvSpPr>
            <a:spLocks noGrp="1"/>
          </p:cNvSpPr>
          <p:nvPr>
            <p:ph type="title"/>
          </p:nvPr>
        </p:nvSpPr>
        <p:spPr>
          <a:xfrm>
            <a:off x="553321" y="550779"/>
            <a:ext cx="8314454" cy="864136"/>
          </a:xfrm>
        </p:spPr>
        <p:txBody>
          <a:bodyPr/>
          <a:lstStyle/>
          <a:p>
            <a:pPr lvl="0"/>
            <a:r>
              <a:rPr lang="en-US" noProof="0"/>
              <a:t>Click to edit Master title style</a:t>
            </a:r>
            <a:endParaRPr lang="de-DE" dirty="0"/>
          </a:p>
        </p:txBody>
      </p:sp>
      <p:sp>
        <p:nvSpPr>
          <p:cNvPr id="17" name="Text Placeholder 15"/>
          <p:cNvSpPr>
            <a:spLocks noGrp="1"/>
          </p:cNvSpPr>
          <p:nvPr>
            <p:ph type="body" sz="quarter" idx="18"/>
          </p:nvPr>
        </p:nvSpPr>
        <p:spPr>
          <a:xfrm>
            <a:off x="3334658" y="2000417"/>
            <a:ext cx="4018005" cy="988438"/>
          </a:xfrm>
        </p:spPr>
        <p:txBody>
          <a:bodyPr anchor="b">
            <a:noAutofit/>
          </a:bodyPr>
          <a:lstStyle>
            <a:lvl1pPr marL="0" indent="0" algn="ctr">
              <a:lnSpc>
                <a:spcPct val="100000"/>
              </a:lnSpc>
              <a:spcBef>
                <a:spcPts val="0"/>
              </a:spcBef>
              <a:buNone/>
              <a:defRPr sz="2400" b="1" baseline="0">
                <a:solidFill>
                  <a:schemeClr val="tx2"/>
                </a:solidFill>
              </a:defRPr>
            </a:lvl1pPr>
          </a:lstStyle>
          <a:p>
            <a:pPr lvl="0"/>
            <a:r>
              <a:rPr lang="en-US" noProof="0"/>
              <a:t>Click to edit Master text styles</a:t>
            </a:r>
          </a:p>
        </p:txBody>
      </p:sp>
      <p:sp>
        <p:nvSpPr>
          <p:cNvPr id="18" name="Text Placeholder 15"/>
          <p:cNvSpPr>
            <a:spLocks noGrp="1"/>
          </p:cNvSpPr>
          <p:nvPr>
            <p:ph type="body" sz="quarter" idx="19"/>
          </p:nvPr>
        </p:nvSpPr>
        <p:spPr>
          <a:xfrm>
            <a:off x="7645051" y="2000419"/>
            <a:ext cx="3982260" cy="988436"/>
          </a:xfrm>
        </p:spPr>
        <p:txBody>
          <a:bodyPr anchor="b">
            <a:noAutofit/>
          </a:bodyPr>
          <a:lstStyle>
            <a:lvl1pPr marL="0" indent="0" algn="ctr">
              <a:lnSpc>
                <a:spcPct val="100000"/>
              </a:lnSpc>
              <a:spcBef>
                <a:spcPts val="0"/>
              </a:spcBef>
              <a:buNone/>
              <a:defRPr sz="2400" b="1" baseline="0">
                <a:solidFill>
                  <a:schemeClr val="bg1"/>
                </a:solidFill>
              </a:defRPr>
            </a:lvl1pPr>
          </a:lstStyle>
          <a:p>
            <a:pPr lvl="0"/>
            <a:r>
              <a:rPr lang="en-US" noProof="0"/>
              <a:t>Click to edit Master text styles</a:t>
            </a:r>
          </a:p>
        </p:txBody>
      </p:sp>
      <p:sp>
        <p:nvSpPr>
          <p:cNvPr id="19" name="Text Placeholder 15"/>
          <p:cNvSpPr>
            <a:spLocks noGrp="1"/>
          </p:cNvSpPr>
          <p:nvPr>
            <p:ph type="body" sz="quarter" idx="21"/>
          </p:nvPr>
        </p:nvSpPr>
        <p:spPr>
          <a:xfrm>
            <a:off x="3324225" y="3429001"/>
            <a:ext cx="4018005" cy="2879724"/>
          </a:xfrm>
        </p:spPr>
        <p:txBody>
          <a:bodyPr lIns="180000" rIns="180000">
            <a:noAutofit/>
          </a:bodyPr>
          <a:lstStyle>
            <a:lvl1pPr marL="0" indent="0" algn="l">
              <a:lnSpc>
                <a:spcPct val="100000"/>
              </a:lnSpc>
              <a:spcBef>
                <a:spcPts val="0"/>
              </a:spcBef>
              <a:spcAft>
                <a:spcPts val="600"/>
              </a:spcAft>
              <a:buNone/>
              <a:defRPr sz="1400" baseline="0">
                <a:solidFill>
                  <a:schemeClr val="tx2"/>
                </a:solidFill>
              </a:defRPr>
            </a:lvl1pPr>
          </a:lstStyle>
          <a:p>
            <a:pPr lvl="0"/>
            <a:r>
              <a:rPr lang="en-US" noProof="0"/>
              <a:t>Click to edit Master text styles</a:t>
            </a:r>
          </a:p>
        </p:txBody>
      </p:sp>
      <p:sp>
        <p:nvSpPr>
          <p:cNvPr id="20" name="Text Placeholder 15"/>
          <p:cNvSpPr>
            <a:spLocks noGrp="1"/>
          </p:cNvSpPr>
          <p:nvPr>
            <p:ph type="body" sz="quarter" idx="22"/>
          </p:nvPr>
        </p:nvSpPr>
        <p:spPr>
          <a:xfrm>
            <a:off x="7633026" y="3429001"/>
            <a:ext cx="4006310" cy="2879723"/>
          </a:xfrm>
        </p:spPr>
        <p:txBody>
          <a:bodyPr lIns="180000" rIns="180000">
            <a:noAutofit/>
          </a:bodyPr>
          <a:lstStyle>
            <a:lvl1pPr marL="0" indent="0" algn="l">
              <a:lnSpc>
                <a:spcPct val="100000"/>
              </a:lnSpc>
              <a:spcBef>
                <a:spcPts val="0"/>
              </a:spcBef>
              <a:spcAft>
                <a:spcPts val="600"/>
              </a:spcAft>
              <a:buNone/>
              <a:defRPr sz="1400" baseline="0">
                <a:solidFill>
                  <a:schemeClr val="bg1"/>
                </a:solidFill>
              </a:defRPr>
            </a:lvl1pPr>
          </a:lstStyle>
          <a:p>
            <a:pPr lvl="0"/>
            <a:r>
              <a:rPr lang="en-US" noProof="0"/>
              <a:t>Click to edit Master text styles</a:t>
            </a:r>
          </a:p>
        </p:txBody>
      </p:sp>
      <p:sp>
        <p:nvSpPr>
          <p:cNvPr id="8" name="Slide Number Placeholder 3">
            <a:extLst>
              <a:ext uri="{FF2B5EF4-FFF2-40B4-BE49-F238E27FC236}">
                <a16:creationId xmlns:a16="http://schemas.microsoft.com/office/drawing/2014/main" id="{57C6D32F-BE42-A285-23EA-AF7BECB9CEAE}"/>
              </a:ext>
            </a:extLst>
          </p:cNvPr>
          <p:cNvSpPr>
            <a:spLocks noGrp="1"/>
          </p:cNvSpPr>
          <p:nvPr>
            <p:ph type="sldNum" sz="quarter" idx="23"/>
          </p:nvPr>
        </p:nvSpPr>
        <p:spPr/>
        <p:txBody>
          <a:bodyPr/>
          <a:lstStyle>
            <a:lvl1pPr algn="r">
              <a:defRPr sz="1000">
                <a:solidFill>
                  <a:srgbClr val="000000"/>
                </a:solidFill>
              </a:defRPr>
            </a:lvl1pPr>
          </a:lstStyle>
          <a:p>
            <a:pPr>
              <a:defRPr/>
            </a:pPr>
            <a:fld id="{BF6D0AEC-30E9-4459-8AD4-A436A8B04CDF}" type="slidenum">
              <a:rPr lang="en-GB"/>
              <a:pPr>
                <a:defRPr/>
              </a:pPr>
              <a:t>‹#›</a:t>
            </a:fld>
            <a:endParaRPr lang="en-GB" dirty="0"/>
          </a:p>
        </p:txBody>
      </p:sp>
    </p:spTree>
    <p:extLst>
      <p:ext uri="{BB962C8B-B14F-4D97-AF65-F5344CB8AC3E}">
        <p14:creationId xmlns:p14="http://schemas.microsoft.com/office/powerpoint/2010/main" val="923300007"/>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text_boxes_Blu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E9AAE6-01E8-D75D-8FF5-8501CF761D22}"/>
              </a:ext>
            </a:extLst>
          </p:cNvPr>
          <p:cNvSpPr/>
          <p:nvPr/>
        </p:nvSpPr>
        <p:spPr>
          <a:xfrm>
            <a:off x="8389938" y="2000250"/>
            <a:ext cx="3254375" cy="4308475"/>
          </a:xfrm>
          <a:prstGeom prst="rect">
            <a:avLst/>
          </a:prstGeom>
          <a:solidFill>
            <a:schemeClr val="bg2"/>
          </a:solidFill>
          <a:ln>
            <a:noFill/>
            <a:miter lim="800000"/>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GB" sz="2400" dirty="0"/>
          </a:p>
        </p:txBody>
      </p:sp>
      <p:sp>
        <p:nvSpPr>
          <p:cNvPr id="3" name="Rectangle 2">
            <a:extLst>
              <a:ext uri="{FF2B5EF4-FFF2-40B4-BE49-F238E27FC236}">
                <a16:creationId xmlns:a16="http://schemas.microsoft.com/office/drawing/2014/main" id="{7C5222B9-3D6F-2B85-7BFA-599D048AE356}"/>
              </a:ext>
            </a:extLst>
          </p:cNvPr>
          <p:cNvSpPr/>
          <p:nvPr/>
        </p:nvSpPr>
        <p:spPr>
          <a:xfrm>
            <a:off x="560388" y="2000250"/>
            <a:ext cx="3252787" cy="4308475"/>
          </a:xfrm>
          <a:prstGeom prst="rect">
            <a:avLst/>
          </a:prstGeom>
          <a:solidFill>
            <a:schemeClr val="bg2"/>
          </a:solidFill>
          <a:ln>
            <a:noFill/>
            <a:miter lim="800000"/>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GB" sz="2400" dirty="0"/>
          </a:p>
        </p:txBody>
      </p:sp>
      <p:sp>
        <p:nvSpPr>
          <p:cNvPr id="4" name="Rectangle 3">
            <a:extLst>
              <a:ext uri="{FF2B5EF4-FFF2-40B4-BE49-F238E27FC236}">
                <a16:creationId xmlns:a16="http://schemas.microsoft.com/office/drawing/2014/main" id="{B1CB7CE7-2D1A-6AED-9150-1F9B909A274A}"/>
              </a:ext>
            </a:extLst>
          </p:cNvPr>
          <p:cNvSpPr/>
          <p:nvPr/>
        </p:nvSpPr>
        <p:spPr>
          <a:xfrm>
            <a:off x="4473575" y="2000250"/>
            <a:ext cx="3254375" cy="4308475"/>
          </a:xfrm>
          <a:prstGeom prst="rect">
            <a:avLst/>
          </a:prstGeom>
          <a:solidFill>
            <a:schemeClr val="accent1"/>
          </a:solidFill>
          <a:ln>
            <a:noFill/>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GB" sz="2400" dirty="0"/>
          </a:p>
        </p:txBody>
      </p:sp>
      <p:cxnSp>
        <p:nvCxnSpPr>
          <p:cNvPr id="5" name="Straight Connector 4">
            <a:extLst>
              <a:ext uri="{FF2B5EF4-FFF2-40B4-BE49-F238E27FC236}">
                <a16:creationId xmlns:a16="http://schemas.microsoft.com/office/drawing/2014/main" id="{270457DD-0797-B25D-024E-F1400AA2EF6A}"/>
              </a:ext>
            </a:extLst>
          </p:cNvPr>
          <p:cNvCxnSpPr/>
          <p:nvPr/>
        </p:nvCxnSpPr>
        <p:spPr>
          <a:xfrm>
            <a:off x="722313" y="3148013"/>
            <a:ext cx="28829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BE3E3C9-E711-D89B-18CD-50A23145CD08}"/>
              </a:ext>
            </a:extLst>
          </p:cNvPr>
          <p:cNvCxnSpPr/>
          <p:nvPr/>
        </p:nvCxnSpPr>
        <p:spPr>
          <a:xfrm>
            <a:off x="8559800" y="3148013"/>
            <a:ext cx="28813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A5C39D7-50C5-DC95-3529-03ECCDA52D8E}"/>
              </a:ext>
            </a:extLst>
          </p:cNvPr>
          <p:cNvCxnSpPr/>
          <p:nvPr/>
        </p:nvCxnSpPr>
        <p:spPr>
          <a:xfrm>
            <a:off x="4654550" y="3148013"/>
            <a:ext cx="2882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itel 4"/>
          <p:cNvSpPr>
            <a:spLocks noGrp="1"/>
          </p:cNvSpPr>
          <p:nvPr>
            <p:ph type="title"/>
          </p:nvPr>
        </p:nvSpPr>
        <p:spPr>
          <a:xfrm>
            <a:off x="553321" y="550779"/>
            <a:ext cx="8314454" cy="864136"/>
          </a:xfrm>
        </p:spPr>
        <p:txBody>
          <a:bodyPr/>
          <a:lstStyle/>
          <a:p>
            <a:pPr lvl="0"/>
            <a:r>
              <a:rPr lang="en-US" noProof="0"/>
              <a:t>Click to edit Master title style</a:t>
            </a:r>
            <a:endParaRPr lang="de-DE" dirty="0"/>
          </a:p>
        </p:txBody>
      </p:sp>
      <p:sp>
        <p:nvSpPr>
          <p:cNvPr id="25" name="Text Placeholder 15"/>
          <p:cNvSpPr>
            <a:spLocks noGrp="1"/>
          </p:cNvSpPr>
          <p:nvPr>
            <p:ph type="body" sz="quarter" idx="17"/>
          </p:nvPr>
        </p:nvSpPr>
        <p:spPr>
          <a:xfrm>
            <a:off x="560989" y="2000422"/>
            <a:ext cx="3252009" cy="988432"/>
          </a:xfrm>
        </p:spPr>
        <p:txBody>
          <a:bodyPr anchor="b">
            <a:noAutofit/>
          </a:bodyPr>
          <a:lstStyle>
            <a:lvl1pPr marL="0" indent="0" algn="ctr">
              <a:lnSpc>
                <a:spcPct val="100000"/>
              </a:lnSpc>
              <a:spcBef>
                <a:spcPts val="0"/>
              </a:spcBef>
              <a:buNone/>
              <a:defRPr sz="2400" b="1" baseline="0">
                <a:solidFill>
                  <a:schemeClr val="tx2"/>
                </a:solidFill>
              </a:defRPr>
            </a:lvl1pPr>
          </a:lstStyle>
          <a:p>
            <a:pPr lvl="0"/>
            <a:r>
              <a:rPr lang="en-US" noProof="0"/>
              <a:t>Click to edit Master text styles</a:t>
            </a:r>
          </a:p>
        </p:txBody>
      </p:sp>
      <p:sp>
        <p:nvSpPr>
          <p:cNvPr id="26" name="Text Placeholder 15"/>
          <p:cNvSpPr>
            <a:spLocks noGrp="1"/>
          </p:cNvSpPr>
          <p:nvPr>
            <p:ph type="body" sz="quarter" idx="18"/>
          </p:nvPr>
        </p:nvSpPr>
        <p:spPr>
          <a:xfrm>
            <a:off x="8389433" y="2000417"/>
            <a:ext cx="3263900" cy="988438"/>
          </a:xfrm>
        </p:spPr>
        <p:txBody>
          <a:bodyPr anchor="b">
            <a:noAutofit/>
          </a:bodyPr>
          <a:lstStyle>
            <a:lvl1pPr marL="0" indent="0" algn="ctr">
              <a:lnSpc>
                <a:spcPct val="100000"/>
              </a:lnSpc>
              <a:spcBef>
                <a:spcPts val="0"/>
              </a:spcBef>
              <a:buNone/>
              <a:defRPr sz="2400" b="1" baseline="0">
                <a:solidFill>
                  <a:schemeClr val="tx2"/>
                </a:solidFill>
              </a:defRPr>
            </a:lvl1pPr>
          </a:lstStyle>
          <a:p>
            <a:pPr lvl="0"/>
            <a:r>
              <a:rPr lang="en-US" noProof="0"/>
              <a:t>Click to edit Master text styles</a:t>
            </a:r>
          </a:p>
        </p:txBody>
      </p:sp>
      <p:sp>
        <p:nvSpPr>
          <p:cNvPr id="27" name="Text Placeholder 15"/>
          <p:cNvSpPr>
            <a:spLocks noGrp="1"/>
          </p:cNvSpPr>
          <p:nvPr>
            <p:ph type="body" sz="quarter" idx="19"/>
          </p:nvPr>
        </p:nvSpPr>
        <p:spPr>
          <a:xfrm>
            <a:off x="4474015" y="2000419"/>
            <a:ext cx="3234864" cy="988436"/>
          </a:xfrm>
        </p:spPr>
        <p:txBody>
          <a:bodyPr anchor="b">
            <a:noAutofit/>
          </a:bodyPr>
          <a:lstStyle>
            <a:lvl1pPr marL="0" indent="0" algn="ctr">
              <a:lnSpc>
                <a:spcPct val="100000"/>
              </a:lnSpc>
              <a:spcBef>
                <a:spcPts val="0"/>
              </a:spcBef>
              <a:buNone/>
              <a:defRPr sz="2400" b="1" baseline="0">
                <a:solidFill>
                  <a:schemeClr val="bg1"/>
                </a:solidFill>
              </a:defRPr>
            </a:lvl1pPr>
          </a:lstStyle>
          <a:p>
            <a:pPr lvl="0"/>
            <a:r>
              <a:rPr lang="en-US" noProof="0"/>
              <a:t>Click to edit Master text styles</a:t>
            </a:r>
          </a:p>
        </p:txBody>
      </p:sp>
      <p:sp>
        <p:nvSpPr>
          <p:cNvPr id="28" name="Text Placeholder 15"/>
          <p:cNvSpPr>
            <a:spLocks noGrp="1"/>
          </p:cNvSpPr>
          <p:nvPr>
            <p:ph type="body" sz="quarter" idx="20"/>
          </p:nvPr>
        </p:nvSpPr>
        <p:spPr>
          <a:xfrm>
            <a:off x="560988" y="3429001"/>
            <a:ext cx="3252008" cy="2879724"/>
          </a:xfrm>
        </p:spPr>
        <p:txBody>
          <a:bodyPr lIns="180000" rIns="180000">
            <a:noAutofit/>
          </a:bodyPr>
          <a:lstStyle>
            <a:lvl1pPr marL="0" indent="0" algn="l">
              <a:lnSpc>
                <a:spcPct val="100000"/>
              </a:lnSpc>
              <a:spcBef>
                <a:spcPts val="0"/>
              </a:spcBef>
              <a:spcAft>
                <a:spcPts val="600"/>
              </a:spcAft>
              <a:buNone/>
              <a:defRPr sz="1400" baseline="0">
                <a:solidFill>
                  <a:schemeClr val="tx2"/>
                </a:solidFill>
              </a:defRPr>
            </a:lvl1pPr>
          </a:lstStyle>
          <a:p>
            <a:pPr lvl="0"/>
            <a:r>
              <a:rPr lang="en-US" noProof="0"/>
              <a:t>Click to edit Master text styles</a:t>
            </a:r>
          </a:p>
          <a:p>
            <a:pPr lvl="1"/>
            <a:r>
              <a:rPr lang="en-US" noProof="0"/>
              <a:t>Second level</a:t>
            </a:r>
          </a:p>
        </p:txBody>
      </p:sp>
      <p:sp>
        <p:nvSpPr>
          <p:cNvPr id="29" name="Text Placeholder 15"/>
          <p:cNvSpPr>
            <a:spLocks noGrp="1"/>
          </p:cNvSpPr>
          <p:nvPr>
            <p:ph type="body" sz="quarter" idx="21"/>
          </p:nvPr>
        </p:nvSpPr>
        <p:spPr>
          <a:xfrm>
            <a:off x="8379000" y="3429001"/>
            <a:ext cx="3263900" cy="2879724"/>
          </a:xfrm>
        </p:spPr>
        <p:txBody>
          <a:bodyPr lIns="180000" rIns="180000">
            <a:noAutofit/>
          </a:bodyPr>
          <a:lstStyle>
            <a:lvl1pPr marL="0" indent="0" algn="l">
              <a:lnSpc>
                <a:spcPct val="100000"/>
              </a:lnSpc>
              <a:spcBef>
                <a:spcPts val="0"/>
              </a:spcBef>
              <a:spcAft>
                <a:spcPts val="600"/>
              </a:spcAft>
              <a:buNone/>
              <a:defRPr sz="1400" baseline="0">
                <a:solidFill>
                  <a:schemeClr val="tx2"/>
                </a:solidFill>
              </a:defRPr>
            </a:lvl1pPr>
          </a:lstStyle>
          <a:p>
            <a:pPr lvl="0"/>
            <a:r>
              <a:rPr lang="en-US" noProof="0"/>
              <a:t>Click to edit Master text styles</a:t>
            </a:r>
          </a:p>
        </p:txBody>
      </p:sp>
      <p:sp>
        <p:nvSpPr>
          <p:cNvPr id="30" name="Text Placeholder 15"/>
          <p:cNvSpPr>
            <a:spLocks noGrp="1"/>
          </p:cNvSpPr>
          <p:nvPr>
            <p:ph type="body" sz="quarter" idx="22"/>
          </p:nvPr>
        </p:nvSpPr>
        <p:spPr>
          <a:xfrm>
            <a:off x="4474015" y="3429001"/>
            <a:ext cx="3254400" cy="2879723"/>
          </a:xfrm>
        </p:spPr>
        <p:txBody>
          <a:bodyPr lIns="180000" rIns="180000">
            <a:noAutofit/>
          </a:bodyPr>
          <a:lstStyle>
            <a:lvl1pPr marL="0" indent="0" algn="l">
              <a:lnSpc>
                <a:spcPct val="100000"/>
              </a:lnSpc>
              <a:spcBef>
                <a:spcPts val="0"/>
              </a:spcBef>
              <a:spcAft>
                <a:spcPts val="600"/>
              </a:spcAft>
              <a:buNone/>
              <a:defRPr sz="1400" baseline="0">
                <a:solidFill>
                  <a:schemeClr val="bg1"/>
                </a:solidFill>
              </a:defRPr>
            </a:lvl1pPr>
          </a:lstStyle>
          <a:p>
            <a:pPr lvl="0"/>
            <a:r>
              <a:rPr lang="en-US" noProof="0"/>
              <a:t>Click to edit Master text styles</a:t>
            </a:r>
          </a:p>
        </p:txBody>
      </p:sp>
      <p:sp>
        <p:nvSpPr>
          <p:cNvPr id="9" name="Slide Number Placeholder 3">
            <a:extLst>
              <a:ext uri="{FF2B5EF4-FFF2-40B4-BE49-F238E27FC236}">
                <a16:creationId xmlns:a16="http://schemas.microsoft.com/office/drawing/2014/main" id="{212D9162-68EE-4067-9B92-DE3BC8DFC6BA}"/>
              </a:ext>
            </a:extLst>
          </p:cNvPr>
          <p:cNvSpPr>
            <a:spLocks noGrp="1"/>
          </p:cNvSpPr>
          <p:nvPr>
            <p:ph type="sldNum" sz="quarter" idx="23"/>
          </p:nvPr>
        </p:nvSpPr>
        <p:spPr/>
        <p:txBody>
          <a:bodyPr/>
          <a:lstStyle>
            <a:lvl1pPr algn="r">
              <a:defRPr sz="1000">
                <a:solidFill>
                  <a:srgbClr val="000000"/>
                </a:solidFill>
              </a:defRPr>
            </a:lvl1pPr>
          </a:lstStyle>
          <a:p>
            <a:pPr>
              <a:defRPr/>
            </a:pPr>
            <a:fld id="{B3BA9DD0-04D1-48BA-8F22-307654E36A7C}" type="slidenum">
              <a:rPr lang="en-GB"/>
              <a:pPr>
                <a:defRPr/>
              </a:pPr>
              <a:t>‹#›</a:t>
            </a:fld>
            <a:endParaRPr lang="en-GB" dirty="0"/>
          </a:p>
        </p:txBody>
      </p:sp>
    </p:spTree>
    <p:extLst>
      <p:ext uri="{BB962C8B-B14F-4D97-AF65-F5344CB8AC3E}">
        <p14:creationId xmlns:p14="http://schemas.microsoft.com/office/powerpoint/2010/main" val="2354788139"/>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Panels_Title+Text+image">
    <p:spTree>
      <p:nvGrpSpPr>
        <p:cNvPr id="1" name=""/>
        <p:cNvGrpSpPr/>
        <p:nvPr/>
      </p:nvGrpSpPr>
      <p:grpSpPr>
        <a:xfrm>
          <a:off x="0" y="0"/>
          <a:ext cx="0" cy="0"/>
          <a:chOff x="0" y="0"/>
          <a:chExt cx="0" cy="0"/>
        </a:xfrm>
      </p:grpSpPr>
      <p:sp>
        <p:nvSpPr>
          <p:cNvPr id="13" name="Text Placeholder 3"/>
          <p:cNvSpPr>
            <a:spLocks noGrp="1"/>
          </p:cNvSpPr>
          <p:nvPr>
            <p:ph type="body" sz="quarter" idx="21"/>
          </p:nvPr>
        </p:nvSpPr>
        <p:spPr>
          <a:xfrm>
            <a:off x="553321" y="550779"/>
            <a:ext cx="8314454" cy="864136"/>
          </a:xfrm>
          <a:prstGeom prst="rect">
            <a:avLst/>
          </a:prstGeom>
        </p:spPr>
        <p:txBody>
          <a:bodyPr/>
          <a:lstStyle>
            <a:lvl1pPr marL="0" indent="0">
              <a:lnSpc>
                <a:spcPct val="100000"/>
              </a:lnSpc>
              <a:spcBef>
                <a:spcPts val="0"/>
              </a:spcBef>
              <a:buNone/>
              <a:defRPr sz="2400" b="1" baseline="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27" name="Picture Placeholder 3"/>
          <p:cNvSpPr>
            <a:spLocks noGrp="1"/>
          </p:cNvSpPr>
          <p:nvPr>
            <p:ph type="pic" sz="quarter" idx="10"/>
          </p:nvPr>
        </p:nvSpPr>
        <p:spPr>
          <a:xfrm>
            <a:off x="565200" y="1994955"/>
            <a:ext cx="3420000" cy="1800000"/>
          </a:xfrm>
          <a:prstGeom prst="rect">
            <a:avLst/>
          </a:prstGeom>
          <a:solidFill>
            <a:schemeClr val="bg2"/>
          </a:solidFill>
          <a:ln>
            <a:noFill/>
          </a:ln>
        </p:spPr>
        <p:txBody>
          <a:bodyPr tIns="360000" rtlCol="0">
            <a:normAutofit/>
          </a:bodyPr>
          <a:lstStyle>
            <a:lvl1pPr marL="0" indent="0" algn="ctr">
              <a:buNone/>
              <a:defRPr sz="1600">
                <a:solidFill>
                  <a:srgbClr val="000000"/>
                </a:solidFill>
              </a:defRPr>
            </a:lvl1pPr>
          </a:lstStyle>
          <a:p>
            <a:pPr lvl="0"/>
            <a:r>
              <a:rPr lang="en-US" noProof="0"/>
              <a:t>Click icon to add picture</a:t>
            </a:r>
            <a:endParaRPr lang="en-US" noProof="0" dirty="0"/>
          </a:p>
        </p:txBody>
      </p:sp>
      <p:sp>
        <p:nvSpPr>
          <p:cNvPr id="28" name="Picture Placeholder 3"/>
          <p:cNvSpPr>
            <a:spLocks noGrp="1"/>
          </p:cNvSpPr>
          <p:nvPr>
            <p:ph type="pic" sz="quarter" idx="13"/>
          </p:nvPr>
        </p:nvSpPr>
        <p:spPr>
          <a:xfrm>
            <a:off x="4386549" y="1994955"/>
            <a:ext cx="3420000" cy="1800000"/>
          </a:xfrm>
          <a:prstGeom prst="rect">
            <a:avLst/>
          </a:prstGeom>
          <a:solidFill>
            <a:schemeClr val="bg2"/>
          </a:solidFill>
          <a:ln>
            <a:noFill/>
          </a:ln>
        </p:spPr>
        <p:txBody>
          <a:bodyPr tIns="360000" rtlCol="0">
            <a:normAutofit/>
          </a:bodyPr>
          <a:lstStyle>
            <a:lvl1pPr marL="0" indent="0" algn="ctr">
              <a:buNone/>
              <a:defRPr sz="1600">
                <a:solidFill>
                  <a:srgbClr val="000000"/>
                </a:solidFill>
              </a:defRPr>
            </a:lvl1pPr>
          </a:lstStyle>
          <a:p>
            <a:pPr lvl="0"/>
            <a:r>
              <a:rPr lang="en-US" noProof="0"/>
              <a:t>Click icon to add picture</a:t>
            </a:r>
            <a:endParaRPr lang="en-US" noProof="0" dirty="0"/>
          </a:p>
        </p:txBody>
      </p:sp>
      <p:sp>
        <p:nvSpPr>
          <p:cNvPr id="29" name="Picture Placeholder 3"/>
          <p:cNvSpPr>
            <a:spLocks noGrp="1"/>
          </p:cNvSpPr>
          <p:nvPr>
            <p:ph type="pic" sz="quarter" idx="14"/>
          </p:nvPr>
        </p:nvSpPr>
        <p:spPr>
          <a:xfrm>
            <a:off x="8214707" y="1994955"/>
            <a:ext cx="3420000" cy="1800000"/>
          </a:xfrm>
          <a:prstGeom prst="rect">
            <a:avLst/>
          </a:prstGeom>
          <a:solidFill>
            <a:schemeClr val="bg2"/>
          </a:solidFill>
          <a:ln>
            <a:noFill/>
          </a:ln>
        </p:spPr>
        <p:txBody>
          <a:bodyPr tIns="360000" rtlCol="0">
            <a:normAutofit/>
          </a:bodyPr>
          <a:lstStyle>
            <a:lvl1pPr marL="0" indent="0" algn="ctr">
              <a:buNone/>
              <a:defRPr sz="1600">
                <a:solidFill>
                  <a:srgbClr val="000000"/>
                </a:solidFill>
              </a:defRPr>
            </a:lvl1pPr>
          </a:lstStyle>
          <a:p>
            <a:pPr lvl="0"/>
            <a:r>
              <a:rPr lang="en-US" noProof="0"/>
              <a:t>Click icon to add picture</a:t>
            </a:r>
            <a:endParaRPr lang="en-US" noProof="0" dirty="0"/>
          </a:p>
        </p:txBody>
      </p:sp>
      <p:sp>
        <p:nvSpPr>
          <p:cNvPr id="14" name="Text Placeholder 10"/>
          <p:cNvSpPr>
            <a:spLocks noGrp="1"/>
          </p:cNvSpPr>
          <p:nvPr>
            <p:ph type="body" sz="quarter" idx="30"/>
          </p:nvPr>
        </p:nvSpPr>
        <p:spPr>
          <a:xfrm>
            <a:off x="564253" y="4007692"/>
            <a:ext cx="3420000" cy="576000"/>
          </a:xfrm>
          <a:prstGeom prst="rect">
            <a:avLst/>
          </a:prstGeom>
        </p:spPr>
        <p:txBody>
          <a:bodyPr>
            <a:noAutofit/>
          </a:bodyPr>
          <a:lstStyle>
            <a:lvl1pPr marL="0" indent="0" algn="ctr">
              <a:lnSpc>
                <a:spcPct val="100000"/>
              </a:lnSpc>
              <a:spcBef>
                <a:spcPts val="0"/>
              </a:spcBef>
              <a:spcAft>
                <a:spcPts val="0"/>
              </a:spcAft>
              <a:buNone/>
              <a:defRPr sz="1800" b="1" baseline="0">
                <a:solidFill>
                  <a:schemeClr val="tx2"/>
                </a:solidFill>
                <a:latin typeface="+mn-lt"/>
              </a:defRPr>
            </a:lvl1pPr>
          </a:lstStyle>
          <a:p>
            <a:pPr lvl="0"/>
            <a:r>
              <a:rPr lang="en-US" noProof="0"/>
              <a:t>Click to edit Master text styles</a:t>
            </a:r>
          </a:p>
        </p:txBody>
      </p:sp>
      <p:sp>
        <p:nvSpPr>
          <p:cNvPr id="15" name="Text Placeholder 10"/>
          <p:cNvSpPr>
            <a:spLocks noGrp="1"/>
          </p:cNvSpPr>
          <p:nvPr>
            <p:ph type="body" sz="quarter" idx="36"/>
          </p:nvPr>
        </p:nvSpPr>
        <p:spPr>
          <a:xfrm>
            <a:off x="4386549" y="4007692"/>
            <a:ext cx="3420000" cy="576000"/>
          </a:xfrm>
          <a:prstGeom prst="rect">
            <a:avLst/>
          </a:prstGeom>
        </p:spPr>
        <p:txBody>
          <a:bodyPr>
            <a:noAutofit/>
          </a:bodyPr>
          <a:lstStyle>
            <a:lvl1pPr marL="0" indent="0" algn="ctr">
              <a:lnSpc>
                <a:spcPct val="100000"/>
              </a:lnSpc>
              <a:spcBef>
                <a:spcPts val="0"/>
              </a:spcBef>
              <a:spcAft>
                <a:spcPts val="0"/>
              </a:spcAft>
              <a:buNone/>
              <a:defRPr sz="1800" b="1" baseline="0">
                <a:solidFill>
                  <a:schemeClr val="tx2"/>
                </a:solidFill>
                <a:latin typeface="+mn-lt"/>
              </a:defRPr>
            </a:lvl1pPr>
          </a:lstStyle>
          <a:p>
            <a:pPr lvl="0"/>
            <a:r>
              <a:rPr lang="en-US" noProof="0"/>
              <a:t>Click to edit Master text styles</a:t>
            </a:r>
          </a:p>
        </p:txBody>
      </p:sp>
      <p:sp>
        <p:nvSpPr>
          <p:cNvPr id="16" name="Text Placeholder 10"/>
          <p:cNvSpPr>
            <a:spLocks noGrp="1"/>
          </p:cNvSpPr>
          <p:nvPr>
            <p:ph type="body" sz="quarter" idx="39"/>
          </p:nvPr>
        </p:nvSpPr>
        <p:spPr>
          <a:xfrm>
            <a:off x="8216374" y="4007692"/>
            <a:ext cx="3420000" cy="576000"/>
          </a:xfrm>
          <a:prstGeom prst="rect">
            <a:avLst/>
          </a:prstGeom>
        </p:spPr>
        <p:txBody>
          <a:bodyPr>
            <a:noAutofit/>
          </a:bodyPr>
          <a:lstStyle>
            <a:lvl1pPr marL="0" indent="0" algn="ctr">
              <a:lnSpc>
                <a:spcPct val="100000"/>
              </a:lnSpc>
              <a:spcBef>
                <a:spcPts val="0"/>
              </a:spcBef>
              <a:spcAft>
                <a:spcPts val="0"/>
              </a:spcAft>
              <a:buNone/>
              <a:defRPr sz="1800" b="1" baseline="0">
                <a:solidFill>
                  <a:schemeClr val="tx2"/>
                </a:solidFill>
                <a:latin typeface="+mn-lt"/>
              </a:defRPr>
            </a:lvl1pPr>
          </a:lstStyle>
          <a:p>
            <a:pPr lvl="0"/>
            <a:r>
              <a:rPr lang="en-US" noProof="0"/>
              <a:t>Click to edit Master text styles</a:t>
            </a:r>
          </a:p>
        </p:txBody>
      </p:sp>
      <p:sp>
        <p:nvSpPr>
          <p:cNvPr id="17" name="Text Placeholder 10"/>
          <p:cNvSpPr>
            <a:spLocks noGrp="1"/>
          </p:cNvSpPr>
          <p:nvPr>
            <p:ph type="body" sz="quarter" idx="43"/>
          </p:nvPr>
        </p:nvSpPr>
        <p:spPr>
          <a:xfrm>
            <a:off x="564253" y="4622802"/>
            <a:ext cx="3420000" cy="1670192"/>
          </a:xfrm>
          <a:prstGeom prst="rect">
            <a:avLst/>
          </a:prstGeom>
        </p:spPr>
        <p:txBody>
          <a:bodyPr>
            <a:noAutofit/>
          </a:bodyPr>
          <a:lstStyle>
            <a:lvl1pPr marL="0" indent="0" algn="ctr">
              <a:lnSpc>
                <a:spcPct val="100000"/>
              </a:lnSpc>
              <a:spcBef>
                <a:spcPts val="0"/>
              </a:spcBef>
              <a:spcAft>
                <a:spcPts val="600"/>
              </a:spcAft>
              <a:buNone/>
              <a:defRPr sz="1400" b="0" baseline="0">
                <a:solidFill>
                  <a:schemeClr val="tx2"/>
                </a:solidFill>
                <a:latin typeface="+mn-lt"/>
              </a:defRPr>
            </a:lvl1pPr>
          </a:lstStyle>
          <a:p>
            <a:pPr lvl="0"/>
            <a:r>
              <a:rPr lang="en-US" noProof="0"/>
              <a:t>Click to edit Master text styles</a:t>
            </a:r>
          </a:p>
        </p:txBody>
      </p:sp>
      <p:sp>
        <p:nvSpPr>
          <p:cNvPr id="18" name="Text Placeholder 10"/>
          <p:cNvSpPr>
            <a:spLocks noGrp="1"/>
          </p:cNvSpPr>
          <p:nvPr>
            <p:ph type="body" sz="quarter" idx="44"/>
          </p:nvPr>
        </p:nvSpPr>
        <p:spPr>
          <a:xfrm>
            <a:off x="4386549" y="4622802"/>
            <a:ext cx="3420000" cy="1670192"/>
          </a:xfrm>
          <a:prstGeom prst="rect">
            <a:avLst/>
          </a:prstGeom>
        </p:spPr>
        <p:txBody>
          <a:bodyPr>
            <a:noAutofit/>
          </a:bodyPr>
          <a:lstStyle>
            <a:lvl1pPr marL="0" indent="0" algn="ctr">
              <a:lnSpc>
                <a:spcPct val="100000"/>
              </a:lnSpc>
              <a:spcBef>
                <a:spcPts val="0"/>
              </a:spcBef>
              <a:spcAft>
                <a:spcPts val="600"/>
              </a:spcAft>
              <a:buNone/>
              <a:defRPr sz="1400" b="0" baseline="0">
                <a:solidFill>
                  <a:schemeClr val="tx2"/>
                </a:solidFill>
                <a:latin typeface="+mn-lt"/>
              </a:defRPr>
            </a:lvl1pPr>
          </a:lstStyle>
          <a:p>
            <a:pPr lvl="0"/>
            <a:r>
              <a:rPr lang="en-US" noProof="0"/>
              <a:t>Click to edit Master text styles</a:t>
            </a:r>
          </a:p>
        </p:txBody>
      </p:sp>
      <p:sp>
        <p:nvSpPr>
          <p:cNvPr id="19" name="Text Placeholder 10"/>
          <p:cNvSpPr>
            <a:spLocks noGrp="1"/>
          </p:cNvSpPr>
          <p:nvPr>
            <p:ph type="body" sz="quarter" idx="45"/>
          </p:nvPr>
        </p:nvSpPr>
        <p:spPr>
          <a:xfrm>
            <a:off x="8216374" y="4622802"/>
            <a:ext cx="3420000" cy="1670192"/>
          </a:xfrm>
          <a:prstGeom prst="rect">
            <a:avLst/>
          </a:prstGeom>
        </p:spPr>
        <p:txBody>
          <a:bodyPr>
            <a:noAutofit/>
          </a:bodyPr>
          <a:lstStyle>
            <a:lvl1pPr marL="0" indent="0" algn="ctr">
              <a:lnSpc>
                <a:spcPct val="100000"/>
              </a:lnSpc>
              <a:spcBef>
                <a:spcPts val="0"/>
              </a:spcBef>
              <a:spcAft>
                <a:spcPts val="600"/>
              </a:spcAft>
              <a:buNone/>
              <a:defRPr sz="1400" b="0" baseline="0">
                <a:solidFill>
                  <a:schemeClr val="tx2"/>
                </a:solidFill>
                <a:latin typeface="+mn-lt"/>
              </a:defRPr>
            </a:lvl1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C0F272A3-9465-EBA4-7CBA-0FC13380FB28}"/>
              </a:ext>
            </a:extLst>
          </p:cNvPr>
          <p:cNvSpPr>
            <a:spLocks noGrp="1"/>
          </p:cNvSpPr>
          <p:nvPr>
            <p:ph type="sldNum" sz="quarter" idx="46"/>
          </p:nvPr>
        </p:nvSpPr>
        <p:spPr/>
        <p:txBody>
          <a:bodyPr/>
          <a:lstStyle>
            <a:lvl1pPr algn="r">
              <a:defRPr sz="1000">
                <a:solidFill>
                  <a:srgbClr val="000000"/>
                </a:solidFill>
              </a:defRPr>
            </a:lvl1pPr>
          </a:lstStyle>
          <a:p>
            <a:pPr>
              <a:defRPr/>
            </a:pPr>
            <a:fld id="{9AD57103-9825-4A6C-9D93-0FF244E57C4E}" type="slidenum">
              <a:rPr lang="en-GB"/>
              <a:pPr>
                <a:defRPr/>
              </a:pPr>
              <a:t>‹#›</a:t>
            </a:fld>
            <a:endParaRPr lang="en-GB" dirty="0"/>
          </a:p>
        </p:txBody>
      </p:sp>
    </p:spTree>
    <p:extLst>
      <p:ext uri="{BB962C8B-B14F-4D97-AF65-F5344CB8AC3E}">
        <p14:creationId xmlns:p14="http://schemas.microsoft.com/office/powerpoint/2010/main" val="457793010"/>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4_image_panel">
    <p:spTree>
      <p:nvGrpSpPr>
        <p:cNvPr id="1" name=""/>
        <p:cNvGrpSpPr/>
        <p:nvPr/>
      </p:nvGrpSpPr>
      <p:grpSpPr>
        <a:xfrm>
          <a:off x="0" y="0"/>
          <a:ext cx="0" cy="0"/>
          <a:chOff x="0" y="0"/>
          <a:chExt cx="0" cy="0"/>
        </a:xfrm>
      </p:grpSpPr>
      <p:sp>
        <p:nvSpPr>
          <p:cNvPr id="13" name="Text Placeholder 3"/>
          <p:cNvSpPr>
            <a:spLocks noGrp="1"/>
          </p:cNvSpPr>
          <p:nvPr>
            <p:ph type="body" sz="quarter" idx="21"/>
          </p:nvPr>
        </p:nvSpPr>
        <p:spPr>
          <a:xfrm>
            <a:off x="553321" y="550779"/>
            <a:ext cx="8314454" cy="864136"/>
          </a:xfrm>
          <a:prstGeom prst="rect">
            <a:avLst/>
          </a:prstGeom>
        </p:spPr>
        <p:txBody>
          <a:bodyPr/>
          <a:lstStyle>
            <a:lvl1pPr marL="0" indent="0">
              <a:lnSpc>
                <a:spcPct val="100000"/>
              </a:lnSpc>
              <a:spcBef>
                <a:spcPts val="0"/>
              </a:spcBef>
              <a:buNone/>
              <a:defRPr sz="2400" b="1" baseline="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14" name="Picture Placeholder 2"/>
          <p:cNvSpPr>
            <a:spLocks noGrp="1"/>
          </p:cNvSpPr>
          <p:nvPr>
            <p:ph type="pic" idx="1"/>
          </p:nvPr>
        </p:nvSpPr>
        <p:spPr>
          <a:xfrm>
            <a:off x="0" y="3426054"/>
            <a:ext cx="3048000" cy="2879726"/>
          </a:xfrm>
          <a:prstGeom prst="rect">
            <a:avLst/>
          </a:prstGeom>
          <a:solidFill>
            <a:schemeClr val="bg2"/>
          </a:solidFill>
        </p:spPr>
        <p:txBody>
          <a:bodyPr tIns="900000" rtlCol="0">
            <a:normAutofit/>
          </a:bodyPr>
          <a:lstStyle>
            <a:lvl1pPr marL="0" indent="0" algn="ctr">
              <a:buNone/>
              <a:defRPr sz="1600" baseline="0">
                <a:solidFill>
                  <a:schemeClr val="tx2"/>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r>
              <a:rPr lang="en-US" noProof="0"/>
              <a:t>Click icon to add picture</a:t>
            </a:r>
            <a:endParaRPr lang="en-CA" noProof="0" dirty="0"/>
          </a:p>
        </p:txBody>
      </p:sp>
      <p:sp>
        <p:nvSpPr>
          <p:cNvPr id="15" name="Picture Placeholder 2"/>
          <p:cNvSpPr>
            <a:spLocks noGrp="1"/>
          </p:cNvSpPr>
          <p:nvPr>
            <p:ph type="pic" idx="10"/>
          </p:nvPr>
        </p:nvSpPr>
        <p:spPr>
          <a:xfrm>
            <a:off x="3049620" y="3426054"/>
            <a:ext cx="3048000" cy="2879726"/>
          </a:xfrm>
          <a:prstGeom prst="rect">
            <a:avLst/>
          </a:prstGeom>
          <a:solidFill>
            <a:schemeClr val="bg2"/>
          </a:solidFill>
        </p:spPr>
        <p:txBody>
          <a:bodyPr tIns="900000" rtlCol="0">
            <a:normAutofit/>
          </a:bodyPr>
          <a:lstStyle>
            <a:lvl1pPr marL="0" indent="0" algn="ctr">
              <a:buNone/>
              <a:defRPr sz="1600" baseline="0">
                <a:solidFill>
                  <a:schemeClr val="tx2"/>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r>
              <a:rPr lang="en-US" noProof="0"/>
              <a:t>Click icon to add picture</a:t>
            </a:r>
            <a:endParaRPr lang="en-CA" noProof="0" dirty="0"/>
          </a:p>
        </p:txBody>
      </p:sp>
      <p:sp>
        <p:nvSpPr>
          <p:cNvPr id="16" name="Picture Placeholder 2"/>
          <p:cNvSpPr>
            <a:spLocks noGrp="1"/>
          </p:cNvSpPr>
          <p:nvPr>
            <p:ph type="pic" idx="11"/>
          </p:nvPr>
        </p:nvSpPr>
        <p:spPr>
          <a:xfrm>
            <a:off x="6091207" y="3426054"/>
            <a:ext cx="3048000" cy="2879726"/>
          </a:xfrm>
          <a:prstGeom prst="rect">
            <a:avLst/>
          </a:prstGeom>
          <a:solidFill>
            <a:schemeClr val="bg2"/>
          </a:solidFill>
        </p:spPr>
        <p:txBody>
          <a:bodyPr tIns="900000" rtlCol="0">
            <a:normAutofit/>
          </a:bodyPr>
          <a:lstStyle>
            <a:lvl1pPr marL="0" indent="0" algn="ctr">
              <a:buNone/>
              <a:defRPr sz="1600" baseline="0">
                <a:solidFill>
                  <a:schemeClr val="tx2"/>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r>
              <a:rPr lang="en-US" noProof="0"/>
              <a:t>Click icon to add picture</a:t>
            </a:r>
            <a:endParaRPr lang="en-CA" noProof="0" dirty="0"/>
          </a:p>
        </p:txBody>
      </p:sp>
      <p:sp>
        <p:nvSpPr>
          <p:cNvPr id="17" name="Picture Placeholder 2"/>
          <p:cNvSpPr>
            <a:spLocks noGrp="1"/>
          </p:cNvSpPr>
          <p:nvPr>
            <p:ph type="pic" idx="22"/>
          </p:nvPr>
        </p:nvSpPr>
        <p:spPr>
          <a:xfrm>
            <a:off x="9132795" y="3426054"/>
            <a:ext cx="3048000" cy="2879726"/>
          </a:xfrm>
          <a:prstGeom prst="rect">
            <a:avLst/>
          </a:prstGeom>
          <a:solidFill>
            <a:schemeClr val="bg2"/>
          </a:solidFill>
        </p:spPr>
        <p:txBody>
          <a:bodyPr tIns="900000" rtlCol="0">
            <a:normAutofit/>
          </a:bodyPr>
          <a:lstStyle>
            <a:lvl1pPr marL="0" indent="0" algn="ctr">
              <a:buNone/>
              <a:defRPr sz="1600" baseline="0">
                <a:solidFill>
                  <a:schemeClr val="tx2"/>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r>
              <a:rPr lang="en-US" noProof="0"/>
              <a:t>Click icon to add picture</a:t>
            </a:r>
            <a:endParaRPr lang="en-CA" noProof="0" dirty="0"/>
          </a:p>
        </p:txBody>
      </p:sp>
      <p:sp>
        <p:nvSpPr>
          <p:cNvPr id="18" name="Text Placeholder 2"/>
          <p:cNvSpPr>
            <a:spLocks noGrp="1"/>
          </p:cNvSpPr>
          <p:nvPr>
            <p:ph type="body" sz="quarter" idx="14"/>
          </p:nvPr>
        </p:nvSpPr>
        <p:spPr>
          <a:xfrm>
            <a:off x="550864" y="1990800"/>
            <a:ext cx="8316912" cy="1151738"/>
          </a:xfrm>
          <a:prstGeom prst="rect">
            <a:avLst/>
          </a:prstGeom>
        </p:spPr>
        <p:txBody>
          <a:bodyPr>
            <a:noAutofit/>
          </a:bodyPr>
          <a:lstStyle>
            <a:lvl1pPr marL="0" indent="0">
              <a:lnSpc>
                <a:spcPct val="100000"/>
              </a:lnSpc>
              <a:spcBef>
                <a:spcPts val="0"/>
              </a:spcBef>
              <a:spcAft>
                <a:spcPts val="600"/>
              </a:spcAft>
              <a:buNone/>
              <a:defRPr sz="1800">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56AB65A3-A5BE-7D77-9B55-FAA0CA9E9675}"/>
              </a:ext>
            </a:extLst>
          </p:cNvPr>
          <p:cNvSpPr>
            <a:spLocks noGrp="1"/>
          </p:cNvSpPr>
          <p:nvPr>
            <p:ph type="sldNum" sz="quarter" idx="23"/>
          </p:nvPr>
        </p:nvSpPr>
        <p:spPr/>
        <p:txBody>
          <a:bodyPr/>
          <a:lstStyle>
            <a:lvl1pPr algn="r">
              <a:defRPr sz="1000">
                <a:solidFill>
                  <a:srgbClr val="000000"/>
                </a:solidFill>
              </a:defRPr>
            </a:lvl1pPr>
          </a:lstStyle>
          <a:p>
            <a:pPr>
              <a:defRPr/>
            </a:pPr>
            <a:fld id="{DFBF42A9-E6B0-4538-802C-EBF754375CDF}" type="slidenum">
              <a:rPr lang="en-GB"/>
              <a:pPr>
                <a:defRPr/>
              </a:pPr>
              <a:t>‹#›</a:t>
            </a:fld>
            <a:endParaRPr lang="en-GB" dirty="0"/>
          </a:p>
        </p:txBody>
      </p:sp>
    </p:spTree>
    <p:extLst>
      <p:ext uri="{BB962C8B-B14F-4D97-AF65-F5344CB8AC3E}">
        <p14:creationId xmlns:p14="http://schemas.microsoft.com/office/powerpoint/2010/main" val="4264624875"/>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_Blocks_Title+Text+image">
    <p:spTree>
      <p:nvGrpSpPr>
        <p:cNvPr id="1" name=""/>
        <p:cNvGrpSpPr/>
        <p:nvPr/>
      </p:nvGrpSpPr>
      <p:grpSpPr>
        <a:xfrm>
          <a:off x="0" y="0"/>
          <a:ext cx="0" cy="0"/>
          <a:chOff x="0" y="0"/>
          <a:chExt cx="0" cy="0"/>
        </a:xfrm>
      </p:grpSpPr>
      <p:sp>
        <p:nvSpPr>
          <p:cNvPr id="14" name="Picture Placeholder 3"/>
          <p:cNvSpPr>
            <a:spLocks noGrp="1"/>
          </p:cNvSpPr>
          <p:nvPr>
            <p:ph type="pic" sz="quarter" idx="10"/>
          </p:nvPr>
        </p:nvSpPr>
        <p:spPr>
          <a:xfrm>
            <a:off x="565200" y="1994955"/>
            <a:ext cx="2592000" cy="1440000"/>
          </a:xfrm>
          <a:prstGeom prst="rect">
            <a:avLst/>
          </a:prstGeom>
          <a:solidFill>
            <a:schemeClr val="bg2"/>
          </a:solidFill>
          <a:ln>
            <a:noFill/>
          </a:ln>
        </p:spPr>
        <p:txBody>
          <a:bodyPr tIns="216000" rtlCol="0">
            <a:normAutofit/>
          </a:bodyPr>
          <a:lstStyle>
            <a:lvl1pPr marL="0" indent="0" algn="ctr">
              <a:buNone/>
              <a:defRPr sz="1600">
                <a:solidFill>
                  <a:srgbClr val="000000"/>
                </a:solidFill>
              </a:defRPr>
            </a:lvl1pPr>
          </a:lstStyle>
          <a:p>
            <a:pPr lvl="0"/>
            <a:r>
              <a:rPr lang="en-US" noProof="0"/>
              <a:t>Click icon to add picture</a:t>
            </a:r>
            <a:endParaRPr lang="en-US" noProof="0" dirty="0"/>
          </a:p>
        </p:txBody>
      </p:sp>
      <p:sp>
        <p:nvSpPr>
          <p:cNvPr id="15" name="Picture Placeholder 3"/>
          <p:cNvSpPr>
            <a:spLocks noGrp="1"/>
          </p:cNvSpPr>
          <p:nvPr>
            <p:ph type="pic" sz="quarter" idx="13"/>
          </p:nvPr>
        </p:nvSpPr>
        <p:spPr>
          <a:xfrm>
            <a:off x="3389691" y="1994955"/>
            <a:ext cx="2592000" cy="1440000"/>
          </a:xfrm>
          <a:prstGeom prst="rect">
            <a:avLst/>
          </a:prstGeom>
          <a:solidFill>
            <a:schemeClr val="bg2"/>
          </a:solidFill>
          <a:ln>
            <a:noFill/>
          </a:ln>
        </p:spPr>
        <p:txBody>
          <a:bodyPr tIns="216000" rtlCol="0">
            <a:normAutofit/>
          </a:bodyPr>
          <a:lstStyle>
            <a:lvl1pPr marL="0" indent="0" algn="ctr">
              <a:buNone/>
              <a:defRPr sz="1600">
                <a:solidFill>
                  <a:srgbClr val="000000"/>
                </a:solidFill>
              </a:defRPr>
            </a:lvl1pPr>
          </a:lstStyle>
          <a:p>
            <a:pPr lvl="0"/>
            <a:r>
              <a:rPr lang="en-US" noProof="0"/>
              <a:t>Click icon to add picture</a:t>
            </a:r>
            <a:endParaRPr lang="en-US" noProof="0" dirty="0"/>
          </a:p>
        </p:txBody>
      </p:sp>
      <p:sp>
        <p:nvSpPr>
          <p:cNvPr id="16" name="Picture Placeholder 3"/>
          <p:cNvSpPr>
            <a:spLocks noGrp="1"/>
          </p:cNvSpPr>
          <p:nvPr>
            <p:ph type="pic" sz="quarter" idx="14"/>
          </p:nvPr>
        </p:nvSpPr>
        <p:spPr>
          <a:xfrm>
            <a:off x="6218687" y="1994955"/>
            <a:ext cx="2592000" cy="1440000"/>
          </a:xfrm>
          <a:prstGeom prst="rect">
            <a:avLst/>
          </a:prstGeom>
          <a:solidFill>
            <a:schemeClr val="bg2"/>
          </a:solidFill>
          <a:ln>
            <a:noFill/>
          </a:ln>
        </p:spPr>
        <p:txBody>
          <a:bodyPr tIns="216000" rtlCol="0">
            <a:normAutofit/>
          </a:bodyPr>
          <a:lstStyle>
            <a:lvl1pPr marL="0" indent="0" algn="ctr">
              <a:buNone/>
              <a:defRPr sz="1600">
                <a:solidFill>
                  <a:srgbClr val="000000"/>
                </a:solidFill>
              </a:defRPr>
            </a:lvl1pPr>
          </a:lstStyle>
          <a:p>
            <a:pPr lvl="0"/>
            <a:r>
              <a:rPr lang="en-US" noProof="0"/>
              <a:t>Click icon to add picture</a:t>
            </a:r>
            <a:endParaRPr lang="en-US" noProof="0" dirty="0"/>
          </a:p>
        </p:txBody>
      </p:sp>
      <p:sp>
        <p:nvSpPr>
          <p:cNvPr id="17" name="Text Placeholder 2"/>
          <p:cNvSpPr>
            <a:spLocks noGrp="1"/>
          </p:cNvSpPr>
          <p:nvPr>
            <p:ph type="body" sz="quarter" idx="15"/>
          </p:nvPr>
        </p:nvSpPr>
        <p:spPr>
          <a:xfrm>
            <a:off x="560695" y="4355690"/>
            <a:ext cx="2592000" cy="1953173"/>
          </a:xfrm>
          <a:prstGeom prst="rect">
            <a:avLst/>
          </a:prstGeom>
        </p:spPr>
        <p:txBody>
          <a:bodyPr>
            <a:noAutofit/>
          </a:bodyPr>
          <a:lstStyle>
            <a:lvl1pPr marL="0" indent="0" algn="l">
              <a:lnSpc>
                <a:spcPct val="100000"/>
              </a:lnSpc>
              <a:spcBef>
                <a:spcPts val="0"/>
              </a:spcBef>
              <a:spcAft>
                <a:spcPts val="600"/>
              </a:spcAft>
              <a:buFont typeface="Wingdings" panose="05000000000000000000" pitchFamily="2" charset="2"/>
              <a:buNone/>
              <a:defRPr sz="1400">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8" name="Text Placeholder 2"/>
          <p:cNvSpPr>
            <a:spLocks noGrp="1"/>
          </p:cNvSpPr>
          <p:nvPr>
            <p:ph type="body" sz="quarter" idx="16"/>
          </p:nvPr>
        </p:nvSpPr>
        <p:spPr>
          <a:xfrm>
            <a:off x="3389691" y="4355690"/>
            <a:ext cx="2592000" cy="1953173"/>
          </a:xfrm>
          <a:prstGeom prst="rect">
            <a:avLst/>
          </a:prstGeom>
        </p:spPr>
        <p:txBody>
          <a:bodyPr>
            <a:noAutofit/>
          </a:bodyPr>
          <a:lstStyle>
            <a:lvl1pPr marL="0" indent="0" algn="l">
              <a:lnSpc>
                <a:spcPct val="100000"/>
              </a:lnSpc>
              <a:spcBef>
                <a:spcPts val="0"/>
              </a:spcBef>
              <a:spcAft>
                <a:spcPts val="600"/>
              </a:spcAft>
              <a:buFont typeface="Wingdings" panose="05000000000000000000" pitchFamily="2" charset="2"/>
              <a:buNone/>
              <a:defRPr sz="1400">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9" name="Text Placeholder 2"/>
          <p:cNvSpPr>
            <a:spLocks noGrp="1"/>
          </p:cNvSpPr>
          <p:nvPr>
            <p:ph type="body" sz="quarter" idx="17"/>
          </p:nvPr>
        </p:nvSpPr>
        <p:spPr>
          <a:xfrm>
            <a:off x="6218687" y="4355690"/>
            <a:ext cx="2592000" cy="1953173"/>
          </a:xfrm>
          <a:prstGeom prst="rect">
            <a:avLst/>
          </a:prstGeom>
        </p:spPr>
        <p:txBody>
          <a:bodyPr>
            <a:noAutofit/>
          </a:bodyPr>
          <a:lstStyle>
            <a:lvl1pPr marL="0" indent="0" algn="l">
              <a:lnSpc>
                <a:spcPct val="100000"/>
              </a:lnSpc>
              <a:spcBef>
                <a:spcPts val="0"/>
              </a:spcBef>
              <a:spcAft>
                <a:spcPts val="600"/>
              </a:spcAft>
              <a:buFont typeface="Wingdings" panose="05000000000000000000" pitchFamily="2" charset="2"/>
              <a:buNone/>
              <a:defRPr sz="1400">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20" name="Text Placeholder 3"/>
          <p:cNvSpPr>
            <a:spLocks noGrp="1"/>
          </p:cNvSpPr>
          <p:nvPr>
            <p:ph type="body" sz="quarter" idx="18"/>
          </p:nvPr>
        </p:nvSpPr>
        <p:spPr>
          <a:xfrm>
            <a:off x="565200" y="3620792"/>
            <a:ext cx="2592000" cy="734898"/>
          </a:xfrm>
          <a:prstGeom prst="rect">
            <a:avLst/>
          </a:prstGeom>
        </p:spPr>
        <p:txBody>
          <a:bodyPr>
            <a:noAutofit/>
          </a:bodyPr>
          <a:lstStyle>
            <a:lvl1pPr marL="0" indent="0" algn="l">
              <a:lnSpc>
                <a:spcPct val="100000"/>
              </a:lnSpc>
              <a:spcBef>
                <a:spcPts val="0"/>
              </a:spcBef>
              <a:buNone/>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21" name="Text Placeholder 3"/>
          <p:cNvSpPr>
            <a:spLocks noGrp="1"/>
          </p:cNvSpPr>
          <p:nvPr>
            <p:ph type="body" sz="quarter" idx="19"/>
          </p:nvPr>
        </p:nvSpPr>
        <p:spPr>
          <a:xfrm>
            <a:off x="3389691" y="3620792"/>
            <a:ext cx="2592000" cy="734898"/>
          </a:xfrm>
          <a:prstGeom prst="rect">
            <a:avLst/>
          </a:prstGeom>
        </p:spPr>
        <p:txBody>
          <a:bodyPr>
            <a:noAutofit/>
          </a:bodyPr>
          <a:lstStyle>
            <a:lvl1pPr marL="0" indent="0" algn="l">
              <a:lnSpc>
                <a:spcPct val="100000"/>
              </a:lnSpc>
              <a:spcBef>
                <a:spcPts val="0"/>
              </a:spcBef>
              <a:buNone/>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22" name="Text Placeholder 3"/>
          <p:cNvSpPr>
            <a:spLocks noGrp="1"/>
          </p:cNvSpPr>
          <p:nvPr>
            <p:ph type="body" sz="quarter" idx="20"/>
          </p:nvPr>
        </p:nvSpPr>
        <p:spPr>
          <a:xfrm>
            <a:off x="6218687" y="3620792"/>
            <a:ext cx="2592000" cy="734898"/>
          </a:xfrm>
          <a:prstGeom prst="rect">
            <a:avLst/>
          </a:prstGeom>
        </p:spPr>
        <p:txBody>
          <a:bodyPr>
            <a:noAutofit/>
          </a:bodyPr>
          <a:lstStyle>
            <a:lvl1pPr marL="0" indent="0" algn="l">
              <a:lnSpc>
                <a:spcPct val="100000"/>
              </a:lnSpc>
              <a:spcBef>
                <a:spcPts val="0"/>
              </a:spcBef>
              <a:buNone/>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13" name="Text Placeholder 3"/>
          <p:cNvSpPr>
            <a:spLocks noGrp="1"/>
          </p:cNvSpPr>
          <p:nvPr>
            <p:ph type="body" sz="quarter" idx="21"/>
          </p:nvPr>
        </p:nvSpPr>
        <p:spPr>
          <a:xfrm>
            <a:off x="553321" y="550779"/>
            <a:ext cx="8314454" cy="864136"/>
          </a:xfrm>
          <a:prstGeom prst="rect">
            <a:avLst/>
          </a:prstGeom>
        </p:spPr>
        <p:txBody>
          <a:bodyPr/>
          <a:lstStyle>
            <a:lvl1pPr marL="0" indent="0">
              <a:lnSpc>
                <a:spcPct val="100000"/>
              </a:lnSpc>
              <a:spcBef>
                <a:spcPts val="0"/>
              </a:spcBef>
              <a:buNone/>
              <a:defRPr sz="2400" b="1" baseline="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23" name="Picture Placeholder 3"/>
          <p:cNvSpPr>
            <a:spLocks noGrp="1"/>
          </p:cNvSpPr>
          <p:nvPr>
            <p:ph type="pic" sz="quarter" idx="22"/>
          </p:nvPr>
        </p:nvSpPr>
        <p:spPr>
          <a:xfrm>
            <a:off x="9047682" y="1994955"/>
            <a:ext cx="2592000" cy="1440000"/>
          </a:xfrm>
          <a:prstGeom prst="rect">
            <a:avLst/>
          </a:prstGeom>
          <a:solidFill>
            <a:schemeClr val="bg2"/>
          </a:solidFill>
          <a:ln>
            <a:noFill/>
          </a:ln>
        </p:spPr>
        <p:txBody>
          <a:bodyPr tIns="216000" rtlCol="0">
            <a:normAutofit/>
          </a:bodyPr>
          <a:lstStyle>
            <a:lvl1pPr marL="0" indent="0" algn="ctr">
              <a:buNone/>
              <a:defRPr sz="1600">
                <a:solidFill>
                  <a:srgbClr val="000000"/>
                </a:solidFill>
              </a:defRPr>
            </a:lvl1pPr>
          </a:lstStyle>
          <a:p>
            <a:pPr lvl="0"/>
            <a:r>
              <a:rPr lang="en-US" noProof="0"/>
              <a:t>Click icon to add picture</a:t>
            </a:r>
            <a:endParaRPr lang="en-US" noProof="0" dirty="0"/>
          </a:p>
        </p:txBody>
      </p:sp>
      <p:sp>
        <p:nvSpPr>
          <p:cNvPr id="24" name="Text Placeholder 2"/>
          <p:cNvSpPr>
            <a:spLocks noGrp="1"/>
          </p:cNvSpPr>
          <p:nvPr>
            <p:ph type="body" sz="quarter" idx="23"/>
          </p:nvPr>
        </p:nvSpPr>
        <p:spPr>
          <a:xfrm>
            <a:off x="9047682" y="4355690"/>
            <a:ext cx="2592000" cy="1953173"/>
          </a:xfrm>
          <a:prstGeom prst="rect">
            <a:avLst/>
          </a:prstGeom>
        </p:spPr>
        <p:txBody>
          <a:bodyPr>
            <a:noAutofit/>
          </a:bodyPr>
          <a:lstStyle>
            <a:lvl1pPr marL="0" indent="0" algn="l">
              <a:lnSpc>
                <a:spcPct val="100000"/>
              </a:lnSpc>
              <a:spcBef>
                <a:spcPts val="0"/>
              </a:spcBef>
              <a:spcAft>
                <a:spcPts val="600"/>
              </a:spcAft>
              <a:buFont typeface="Wingdings" panose="05000000000000000000" pitchFamily="2" charset="2"/>
              <a:buNone/>
              <a:defRPr sz="1400">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25" name="Text Placeholder 3"/>
          <p:cNvSpPr>
            <a:spLocks noGrp="1"/>
          </p:cNvSpPr>
          <p:nvPr>
            <p:ph type="body" sz="quarter" idx="24"/>
          </p:nvPr>
        </p:nvSpPr>
        <p:spPr>
          <a:xfrm>
            <a:off x="9047682" y="3620792"/>
            <a:ext cx="2592000" cy="734898"/>
          </a:xfrm>
          <a:prstGeom prst="rect">
            <a:avLst/>
          </a:prstGeom>
        </p:spPr>
        <p:txBody>
          <a:bodyPr>
            <a:noAutofit/>
          </a:bodyPr>
          <a:lstStyle>
            <a:lvl1pPr marL="0" indent="0" algn="l">
              <a:lnSpc>
                <a:spcPct val="100000"/>
              </a:lnSpc>
              <a:spcBef>
                <a:spcPts val="0"/>
              </a:spcBef>
              <a:buNone/>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656B3BA4-48FF-2D47-FD42-0E57FBC468B1}"/>
              </a:ext>
            </a:extLst>
          </p:cNvPr>
          <p:cNvSpPr>
            <a:spLocks noGrp="1"/>
          </p:cNvSpPr>
          <p:nvPr>
            <p:ph type="sldNum" sz="quarter" idx="25"/>
          </p:nvPr>
        </p:nvSpPr>
        <p:spPr/>
        <p:txBody>
          <a:bodyPr/>
          <a:lstStyle>
            <a:lvl1pPr algn="r">
              <a:defRPr sz="1000">
                <a:solidFill>
                  <a:srgbClr val="000000"/>
                </a:solidFill>
              </a:defRPr>
            </a:lvl1pPr>
          </a:lstStyle>
          <a:p>
            <a:pPr>
              <a:defRPr/>
            </a:pPr>
            <a:fld id="{876417D2-878B-45AC-9C0B-BDF159873E11}" type="slidenum">
              <a:rPr lang="en-GB"/>
              <a:pPr>
                <a:defRPr/>
              </a:pPr>
              <a:t>‹#›</a:t>
            </a:fld>
            <a:endParaRPr lang="en-GB" dirty="0"/>
          </a:p>
        </p:txBody>
      </p:sp>
    </p:spTree>
    <p:extLst>
      <p:ext uri="{BB962C8B-B14F-4D97-AF65-F5344CB8AC3E}">
        <p14:creationId xmlns:p14="http://schemas.microsoft.com/office/powerpoint/2010/main" val="3189843568"/>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_panels_Title+Text+upper_image">
    <p:spTree>
      <p:nvGrpSpPr>
        <p:cNvPr id="1" name=""/>
        <p:cNvGrpSpPr/>
        <p:nvPr/>
      </p:nvGrpSpPr>
      <p:grpSpPr>
        <a:xfrm>
          <a:off x="0" y="0"/>
          <a:ext cx="0" cy="0"/>
          <a:chOff x="0" y="0"/>
          <a:chExt cx="0" cy="0"/>
        </a:xfrm>
      </p:grpSpPr>
      <p:sp>
        <p:nvSpPr>
          <p:cNvPr id="9" name="Picture Placeholder 3"/>
          <p:cNvSpPr>
            <a:spLocks noGrp="1"/>
          </p:cNvSpPr>
          <p:nvPr>
            <p:ph type="pic" sz="quarter" idx="10"/>
          </p:nvPr>
        </p:nvSpPr>
        <p:spPr>
          <a:xfrm>
            <a:off x="0" y="0"/>
            <a:ext cx="12195386" cy="3420138"/>
          </a:xfrm>
          <a:prstGeom prst="rect">
            <a:avLst/>
          </a:prstGeom>
          <a:solidFill>
            <a:schemeClr val="bg2"/>
          </a:solidFill>
          <a:ln>
            <a:noFill/>
          </a:ln>
        </p:spPr>
        <p:txBody>
          <a:bodyPr tIns="1224000" rtlCol="0">
            <a:normAutofit/>
          </a:bodyPr>
          <a:lstStyle>
            <a:lvl1pPr marL="0" indent="0" algn="ctr">
              <a:buNone/>
              <a:defRPr sz="2000">
                <a:solidFill>
                  <a:srgbClr val="000000"/>
                </a:solidFill>
              </a:defRPr>
            </a:lvl1pPr>
          </a:lstStyle>
          <a:p>
            <a:pPr lvl="0"/>
            <a:r>
              <a:rPr lang="en-US" noProof="0"/>
              <a:t>Click icon to add picture</a:t>
            </a:r>
            <a:endParaRPr lang="en-US" noProof="0" dirty="0"/>
          </a:p>
        </p:txBody>
      </p:sp>
      <p:sp>
        <p:nvSpPr>
          <p:cNvPr id="7" name="Kn Logo"/>
          <p:cNvSpPr>
            <a:spLocks noGrp="1"/>
          </p:cNvSpPr>
          <p:nvPr>
            <p:ph type="body" sz="quarter" idx="16"/>
          </p:nvPr>
        </p:nvSpPr>
        <p:spPr>
          <a:xfrm>
            <a:off x="9722079" y="560699"/>
            <a:ext cx="1897408" cy="381946"/>
          </a:xfrm>
          <a:prstGeom prst="rect">
            <a:avLst/>
          </a:prstGeom>
          <a:blipFill rotWithShape="1">
            <a:blip r:embed="rId2"/>
            <a:stretch>
              <a:fillRect/>
            </a:stretch>
          </a:blipFill>
        </p:spPr>
        <p:txBody>
          <a:bodyPr/>
          <a:lstStyle>
            <a:lvl1pPr marL="0" indent="0">
              <a:buNone/>
              <a:defRPr/>
            </a:lvl1pPr>
          </a:lstStyle>
          <a:p>
            <a:pPr lvl="0"/>
            <a:r>
              <a:rPr lang="en-US"/>
              <a:t>Click to edit Master text styles</a:t>
            </a:r>
          </a:p>
        </p:txBody>
      </p:sp>
      <p:sp>
        <p:nvSpPr>
          <p:cNvPr id="6" name="Text Placeholder 3"/>
          <p:cNvSpPr>
            <a:spLocks noGrp="1"/>
          </p:cNvSpPr>
          <p:nvPr>
            <p:ph type="body" sz="quarter" idx="17"/>
          </p:nvPr>
        </p:nvSpPr>
        <p:spPr>
          <a:xfrm>
            <a:off x="553321" y="550779"/>
            <a:ext cx="8314454" cy="864136"/>
          </a:xfrm>
          <a:prstGeom prst="rect">
            <a:avLst/>
          </a:prstGeom>
        </p:spPr>
        <p:txBody>
          <a:bodyPr/>
          <a:lstStyle>
            <a:lvl1pPr marL="0" indent="0">
              <a:lnSpc>
                <a:spcPct val="100000"/>
              </a:lnSpc>
              <a:spcBef>
                <a:spcPts val="0"/>
              </a:spcBef>
              <a:buNone/>
              <a:defRPr sz="2400" b="1" baseline="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8" name="Text Placeholder 2"/>
          <p:cNvSpPr>
            <a:spLocks noGrp="1"/>
          </p:cNvSpPr>
          <p:nvPr>
            <p:ph type="body" sz="quarter" idx="15"/>
          </p:nvPr>
        </p:nvSpPr>
        <p:spPr>
          <a:xfrm>
            <a:off x="565200" y="4278018"/>
            <a:ext cx="3420000" cy="1440000"/>
          </a:xfrm>
          <a:prstGeom prst="rect">
            <a:avLst/>
          </a:prstGeom>
        </p:spPr>
        <p:txBody>
          <a:bodyPr>
            <a:noAutofit/>
          </a:bodyPr>
          <a:lstStyle>
            <a:lvl1pPr marL="0" indent="0" algn="ctr">
              <a:lnSpc>
                <a:spcPct val="100000"/>
              </a:lnSpc>
              <a:spcBef>
                <a:spcPts val="0"/>
              </a:spcBef>
              <a:spcAft>
                <a:spcPts val="600"/>
              </a:spcAft>
              <a:buNone/>
              <a:defRPr sz="1400">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0" name="Text Placeholder 2"/>
          <p:cNvSpPr>
            <a:spLocks noGrp="1"/>
          </p:cNvSpPr>
          <p:nvPr>
            <p:ph type="body" sz="quarter" idx="18"/>
          </p:nvPr>
        </p:nvSpPr>
        <p:spPr>
          <a:xfrm>
            <a:off x="4384800" y="4278018"/>
            <a:ext cx="3420000" cy="1440000"/>
          </a:xfrm>
          <a:prstGeom prst="rect">
            <a:avLst/>
          </a:prstGeom>
        </p:spPr>
        <p:txBody>
          <a:bodyPr>
            <a:noAutofit/>
          </a:bodyPr>
          <a:lstStyle>
            <a:lvl1pPr marL="0" indent="0" algn="ctr">
              <a:lnSpc>
                <a:spcPct val="100000"/>
              </a:lnSpc>
              <a:spcBef>
                <a:spcPts val="0"/>
              </a:spcBef>
              <a:spcAft>
                <a:spcPts val="600"/>
              </a:spcAft>
              <a:buNone/>
              <a:defRPr sz="1400">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1" name="Text Placeholder 2"/>
          <p:cNvSpPr>
            <a:spLocks noGrp="1"/>
          </p:cNvSpPr>
          <p:nvPr>
            <p:ph type="body" sz="quarter" idx="19"/>
          </p:nvPr>
        </p:nvSpPr>
        <p:spPr>
          <a:xfrm>
            <a:off x="8214707" y="4278018"/>
            <a:ext cx="3420000" cy="1440000"/>
          </a:xfrm>
          <a:prstGeom prst="rect">
            <a:avLst/>
          </a:prstGeom>
        </p:spPr>
        <p:txBody>
          <a:bodyPr>
            <a:noAutofit/>
          </a:bodyPr>
          <a:lstStyle>
            <a:lvl1pPr marL="0" indent="0" algn="ctr">
              <a:lnSpc>
                <a:spcPct val="100000"/>
              </a:lnSpc>
              <a:spcBef>
                <a:spcPts val="0"/>
              </a:spcBef>
              <a:spcAft>
                <a:spcPts val="600"/>
              </a:spcAft>
              <a:buNone/>
              <a:defRPr sz="1400">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2" name="Text Placeholder 3"/>
          <p:cNvSpPr>
            <a:spLocks noGrp="1"/>
          </p:cNvSpPr>
          <p:nvPr>
            <p:ph type="body" sz="quarter" idx="20"/>
          </p:nvPr>
        </p:nvSpPr>
        <p:spPr>
          <a:xfrm>
            <a:off x="565200" y="3750699"/>
            <a:ext cx="3420000" cy="432000"/>
          </a:xfrm>
          <a:prstGeom prst="rect">
            <a:avLst/>
          </a:prstGeom>
        </p:spPr>
        <p:txBody>
          <a:bodyPr>
            <a:noAutofit/>
          </a:bodyPr>
          <a:lstStyle>
            <a:lvl1pPr marL="0" indent="0" algn="ctr">
              <a:lnSpc>
                <a:spcPct val="100000"/>
              </a:lnSpc>
              <a:spcBef>
                <a:spcPts val="0"/>
              </a:spcBef>
              <a:buNone/>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13" name="Text Placeholder 3"/>
          <p:cNvSpPr>
            <a:spLocks noGrp="1"/>
          </p:cNvSpPr>
          <p:nvPr>
            <p:ph type="body" sz="quarter" idx="21"/>
          </p:nvPr>
        </p:nvSpPr>
        <p:spPr>
          <a:xfrm>
            <a:off x="4384014" y="3750699"/>
            <a:ext cx="3420000" cy="432000"/>
          </a:xfrm>
          <a:prstGeom prst="rect">
            <a:avLst/>
          </a:prstGeom>
        </p:spPr>
        <p:txBody>
          <a:bodyPr>
            <a:noAutofit/>
          </a:bodyPr>
          <a:lstStyle>
            <a:lvl1pPr marL="0" indent="0" algn="ctr">
              <a:lnSpc>
                <a:spcPct val="100000"/>
              </a:lnSpc>
              <a:spcBef>
                <a:spcPts val="0"/>
              </a:spcBef>
              <a:buNone/>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14" name="Text Placeholder 3"/>
          <p:cNvSpPr>
            <a:spLocks noGrp="1"/>
          </p:cNvSpPr>
          <p:nvPr>
            <p:ph type="body" sz="quarter" idx="22"/>
          </p:nvPr>
        </p:nvSpPr>
        <p:spPr>
          <a:xfrm>
            <a:off x="8214707" y="3750699"/>
            <a:ext cx="3420000" cy="432000"/>
          </a:xfrm>
          <a:prstGeom prst="rect">
            <a:avLst/>
          </a:prstGeom>
        </p:spPr>
        <p:txBody>
          <a:bodyPr>
            <a:noAutofit/>
          </a:bodyPr>
          <a:lstStyle>
            <a:lvl1pPr marL="0" indent="0" algn="ctr">
              <a:lnSpc>
                <a:spcPct val="100000"/>
              </a:lnSpc>
              <a:spcBef>
                <a:spcPts val="0"/>
              </a:spcBef>
              <a:buNone/>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2" name="Slide Number Placeholder 3">
            <a:extLst>
              <a:ext uri="{FF2B5EF4-FFF2-40B4-BE49-F238E27FC236}">
                <a16:creationId xmlns:a16="http://schemas.microsoft.com/office/drawing/2014/main" id="{B65D946D-A43F-0D1B-F18D-4A0E8E641B5E}"/>
              </a:ext>
            </a:extLst>
          </p:cNvPr>
          <p:cNvSpPr>
            <a:spLocks noGrp="1"/>
          </p:cNvSpPr>
          <p:nvPr>
            <p:ph type="sldNum" sz="quarter" idx="23"/>
          </p:nvPr>
        </p:nvSpPr>
        <p:spPr/>
        <p:txBody>
          <a:bodyPr/>
          <a:lstStyle>
            <a:lvl1pPr algn="r">
              <a:defRPr sz="1000">
                <a:solidFill>
                  <a:srgbClr val="000000"/>
                </a:solidFill>
              </a:defRPr>
            </a:lvl1pPr>
          </a:lstStyle>
          <a:p>
            <a:pPr>
              <a:defRPr/>
            </a:pPr>
            <a:fld id="{E389E01E-8198-4892-A022-86AEB3952F6C}" type="slidenum">
              <a:rPr lang="en-GB"/>
              <a:pPr>
                <a:defRPr/>
              </a:pPr>
              <a:t>‹#›</a:t>
            </a:fld>
            <a:endParaRPr lang="en-GB" dirty="0"/>
          </a:p>
        </p:txBody>
      </p:sp>
    </p:spTree>
    <p:extLst>
      <p:ext uri="{BB962C8B-B14F-4D97-AF65-F5344CB8AC3E}">
        <p14:creationId xmlns:p14="http://schemas.microsoft.com/office/powerpoint/2010/main" val="443032557"/>
      </p:ext>
    </p:extLst>
  </p:cSld>
  <p:clrMapOvr>
    <a:masterClrMapping/>
  </p:clrMapOvr>
  <p:transition spd="med" advClick="0">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_panels_Title+Text_Grey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614EF1-1EA8-2989-BE34-A9C7CB5F24EC}"/>
              </a:ext>
            </a:extLst>
          </p:cNvPr>
          <p:cNvSpPr/>
          <p:nvPr/>
        </p:nvSpPr>
        <p:spPr>
          <a:xfrm>
            <a:off x="4527550" y="1989138"/>
            <a:ext cx="3186113" cy="4319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solidFill>
                <a:schemeClr val="tx2"/>
              </a:solidFill>
            </a:endParaRPr>
          </a:p>
        </p:txBody>
      </p:sp>
      <p:sp>
        <p:nvSpPr>
          <p:cNvPr id="3" name="Rectangle 2">
            <a:extLst>
              <a:ext uri="{FF2B5EF4-FFF2-40B4-BE49-F238E27FC236}">
                <a16:creationId xmlns:a16="http://schemas.microsoft.com/office/drawing/2014/main" id="{65ADC1AC-5BBC-954C-642D-D45B16B6CA8A}"/>
              </a:ext>
            </a:extLst>
          </p:cNvPr>
          <p:cNvSpPr/>
          <p:nvPr/>
        </p:nvSpPr>
        <p:spPr>
          <a:xfrm>
            <a:off x="542925" y="1989138"/>
            <a:ext cx="3186113" cy="4319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solidFill>
                <a:schemeClr val="tx2"/>
              </a:solidFill>
            </a:endParaRPr>
          </a:p>
        </p:txBody>
      </p:sp>
      <p:sp>
        <p:nvSpPr>
          <p:cNvPr id="4" name="Rectangle 3">
            <a:extLst>
              <a:ext uri="{FF2B5EF4-FFF2-40B4-BE49-F238E27FC236}">
                <a16:creationId xmlns:a16="http://schemas.microsoft.com/office/drawing/2014/main" id="{5F0BF07A-5E04-BEFE-D5E4-EA0A852B680E}"/>
              </a:ext>
            </a:extLst>
          </p:cNvPr>
          <p:cNvSpPr/>
          <p:nvPr/>
        </p:nvSpPr>
        <p:spPr>
          <a:xfrm>
            <a:off x="8472488" y="1989138"/>
            <a:ext cx="3186112" cy="4319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solidFill>
                <a:schemeClr val="tx2"/>
              </a:solidFill>
            </a:endParaRPr>
          </a:p>
        </p:txBody>
      </p:sp>
      <p:cxnSp>
        <p:nvCxnSpPr>
          <p:cNvPr id="5" name="Straight Connector 4">
            <a:extLst>
              <a:ext uri="{FF2B5EF4-FFF2-40B4-BE49-F238E27FC236}">
                <a16:creationId xmlns:a16="http://schemas.microsoft.com/office/drawing/2014/main" id="{3644B774-1CF1-2221-5410-DDD181707933}"/>
              </a:ext>
            </a:extLst>
          </p:cNvPr>
          <p:cNvCxnSpPr/>
          <p:nvPr/>
        </p:nvCxnSpPr>
        <p:spPr>
          <a:xfrm>
            <a:off x="695325" y="4870450"/>
            <a:ext cx="2881313" cy="0"/>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EE94009-67ED-2AD1-EEEF-ED75DF37146A}"/>
              </a:ext>
            </a:extLst>
          </p:cNvPr>
          <p:cNvCxnSpPr/>
          <p:nvPr/>
        </p:nvCxnSpPr>
        <p:spPr>
          <a:xfrm>
            <a:off x="4679950" y="4870450"/>
            <a:ext cx="2879725" cy="0"/>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AC7CC90-BC5E-4C2A-6DDD-7F918A5A4A8F}"/>
              </a:ext>
            </a:extLst>
          </p:cNvPr>
          <p:cNvCxnSpPr/>
          <p:nvPr/>
        </p:nvCxnSpPr>
        <p:spPr>
          <a:xfrm>
            <a:off x="8626475" y="4870450"/>
            <a:ext cx="2879725" cy="0"/>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21"/>
          </p:nvPr>
        </p:nvSpPr>
        <p:spPr>
          <a:xfrm>
            <a:off x="553321" y="550779"/>
            <a:ext cx="8314454" cy="864136"/>
          </a:xfrm>
          <a:prstGeom prst="rect">
            <a:avLst/>
          </a:prstGeom>
        </p:spPr>
        <p:txBody>
          <a:bodyPr/>
          <a:lstStyle>
            <a:lvl1pPr marL="0" indent="0">
              <a:lnSpc>
                <a:spcPct val="100000"/>
              </a:lnSpc>
              <a:spcBef>
                <a:spcPts val="0"/>
              </a:spcBef>
              <a:buNone/>
              <a:defRPr sz="2400" b="1" baseline="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19" name="Text Placeholder 2"/>
          <p:cNvSpPr>
            <a:spLocks noGrp="1"/>
          </p:cNvSpPr>
          <p:nvPr>
            <p:ph type="body" sz="quarter" idx="14"/>
          </p:nvPr>
        </p:nvSpPr>
        <p:spPr>
          <a:xfrm>
            <a:off x="542991" y="3194207"/>
            <a:ext cx="3186000" cy="648000"/>
          </a:xfrm>
          <a:prstGeom prst="rect">
            <a:avLst/>
          </a:prstGeom>
        </p:spPr>
        <p:txBody>
          <a:bodyPr lIns="144000" rIns="144000" anchor="ctr">
            <a:noAutofit/>
          </a:bodyPr>
          <a:lstStyle>
            <a:lvl1pPr marL="0" indent="0" algn="ctr">
              <a:lnSpc>
                <a:spcPct val="100000"/>
              </a:lnSpc>
              <a:spcBef>
                <a:spcPts val="0"/>
              </a:spcBef>
              <a:buNone/>
              <a:defRPr sz="1600" b="1">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20" name="Text Placeholder 2"/>
          <p:cNvSpPr>
            <a:spLocks noGrp="1"/>
          </p:cNvSpPr>
          <p:nvPr>
            <p:ph type="body" sz="quarter" idx="15"/>
          </p:nvPr>
        </p:nvSpPr>
        <p:spPr>
          <a:xfrm>
            <a:off x="4527459" y="3194207"/>
            <a:ext cx="3186000" cy="648000"/>
          </a:xfrm>
          <a:prstGeom prst="rect">
            <a:avLst/>
          </a:prstGeom>
        </p:spPr>
        <p:txBody>
          <a:bodyPr lIns="144000" rIns="144000" anchor="ctr">
            <a:noAutofit/>
          </a:bodyPr>
          <a:lstStyle>
            <a:lvl1pPr marL="0" indent="0" algn="ctr">
              <a:lnSpc>
                <a:spcPct val="100000"/>
              </a:lnSpc>
              <a:spcBef>
                <a:spcPts val="0"/>
              </a:spcBef>
              <a:buNone/>
              <a:defRPr sz="1600" b="1">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21" name="Text Placeholder 2"/>
          <p:cNvSpPr>
            <a:spLocks noGrp="1"/>
          </p:cNvSpPr>
          <p:nvPr>
            <p:ph type="body" sz="quarter" idx="16"/>
          </p:nvPr>
        </p:nvSpPr>
        <p:spPr>
          <a:xfrm>
            <a:off x="8473004" y="3194207"/>
            <a:ext cx="3186000" cy="648000"/>
          </a:xfrm>
          <a:prstGeom prst="rect">
            <a:avLst/>
          </a:prstGeom>
        </p:spPr>
        <p:txBody>
          <a:bodyPr lIns="144000" rIns="144000" anchor="ctr">
            <a:noAutofit/>
          </a:bodyPr>
          <a:lstStyle>
            <a:lvl1pPr marL="0" indent="0" algn="ctr">
              <a:lnSpc>
                <a:spcPct val="100000"/>
              </a:lnSpc>
              <a:spcBef>
                <a:spcPts val="0"/>
              </a:spcBef>
              <a:buNone/>
              <a:defRPr sz="1600" b="1">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22" name="Text Placeholder 2"/>
          <p:cNvSpPr>
            <a:spLocks noGrp="1"/>
          </p:cNvSpPr>
          <p:nvPr>
            <p:ph type="body" sz="quarter" idx="17"/>
          </p:nvPr>
        </p:nvSpPr>
        <p:spPr>
          <a:xfrm>
            <a:off x="542991" y="3842207"/>
            <a:ext cx="3186000" cy="2105832"/>
          </a:xfrm>
          <a:prstGeom prst="rect">
            <a:avLst/>
          </a:prstGeom>
        </p:spPr>
        <p:txBody>
          <a:bodyPr lIns="144000" rIns="144000">
            <a:noAutofit/>
          </a:bodyPr>
          <a:lstStyle>
            <a:lvl1pPr marL="0" indent="0" algn="ctr">
              <a:lnSpc>
                <a:spcPct val="100000"/>
              </a:lnSpc>
              <a:spcBef>
                <a:spcPts val="0"/>
              </a:spcBef>
              <a:spcAft>
                <a:spcPts val="600"/>
              </a:spcAft>
              <a:buNone/>
              <a:defRPr sz="1200" b="0">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23" name="Text Placeholder 2"/>
          <p:cNvSpPr>
            <a:spLocks noGrp="1"/>
          </p:cNvSpPr>
          <p:nvPr>
            <p:ph type="body" sz="quarter" idx="18"/>
          </p:nvPr>
        </p:nvSpPr>
        <p:spPr>
          <a:xfrm>
            <a:off x="4527459" y="3842207"/>
            <a:ext cx="3186000" cy="2105832"/>
          </a:xfrm>
          <a:prstGeom prst="rect">
            <a:avLst/>
          </a:prstGeom>
        </p:spPr>
        <p:txBody>
          <a:bodyPr lIns="144000" rIns="144000">
            <a:noAutofit/>
          </a:bodyPr>
          <a:lstStyle>
            <a:lvl1pPr marL="0" indent="0" algn="ctr">
              <a:lnSpc>
                <a:spcPct val="100000"/>
              </a:lnSpc>
              <a:spcBef>
                <a:spcPts val="0"/>
              </a:spcBef>
              <a:spcAft>
                <a:spcPts val="600"/>
              </a:spcAft>
              <a:buNone/>
              <a:defRPr sz="1200" b="0">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24" name="Text Placeholder 2"/>
          <p:cNvSpPr>
            <a:spLocks noGrp="1"/>
          </p:cNvSpPr>
          <p:nvPr>
            <p:ph type="body" sz="quarter" idx="19"/>
          </p:nvPr>
        </p:nvSpPr>
        <p:spPr>
          <a:xfrm>
            <a:off x="8473004" y="3842207"/>
            <a:ext cx="3186000" cy="2105832"/>
          </a:xfrm>
          <a:prstGeom prst="rect">
            <a:avLst/>
          </a:prstGeom>
        </p:spPr>
        <p:txBody>
          <a:bodyPr lIns="144000" rIns="144000">
            <a:noAutofit/>
          </a:bodyPr>
          <a:lstStyle>
            <a:lvl1pPr marL="0" indent="0" algn="ctr">
              <a:lnSpc>
                <a:spcPct val="100000"/>
              </a:lnSpc>
              <a:spcBef>
                <a:spcPts val="0"/>
              </a:spcBef>
              <a:spcAft>
                <a:spcPts val="600"/>
              </a:spcAft>
              <a:buNone/>
              <a:defRPr sz="1200" b="0">
                <a:solidFill>
                  <a:schemeClr val="tx2"/>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8" name="Slide Number Placeholder 3">
            <a:extLst>
              <a:ext uri="{FF2B5EF4-FFF2-40B4-BE49-F238E27FC236}">
                <a16:creationId xmlns:a16="http://schemas.microsoft.com/office/drawing/2014/main" id="{48D4F85D-0A8A-711E-AAA3-E38CDD6AE859}"/>
              </a:ext>
            </a:extLst>
          </p:cNvPr>
          <p:cNvSpPr>
            <a:spLocks noGrp="1"/>
          </p:cNvSpPr>
          <p:nvPr>
            <p:ph type="sldNum" sz="quarter" idx="22"/>
          </p:nvPr>
        </p:nvSpPr>
        <p:spPr/>
        <p:txBody>
          <a:bodyPr/>
          <a:lstStyle>
            <a:lvl1pPr algn="r">
              <a:defRPr sz="1000">
                <a:solidFill>
                  <a:srgbClr val="000000"/>
                </a:solidFill>
              </a:defRPr>
            </a:lvl1pPr>
          </a:lstStyle>
          <a:p>
            <a:pPr>
              <a:defRPr/>
            </a:pPr>
            <a:fld id="{02A15CBA-4E48-4E22-90B6-D1EA957B6D87}" type="slidenum">
              <a:rPr lang="en-GB"/>
              <a:pPr>
                <a:defRPr/>
              </a:pPr>
              <a:t>‹#›</a:t>
            </a:fld>
            <a:endParaRPr lang="en-GB" dirty="0"/>
          </a:p>
        </p:txBody>
      </p:sp>
    </p:spTree>
    <p:extLst>
      <p:ext uri="{BB962C8B-B14F-4D97-AF65-F5344CB8AC3E}">
        <p14:creationId xmlns:p14="http://schemas.microsoft.com/office/powerpoint/2010/main" val="146892837"/>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panels_Title+Text_GreyBG+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759FEB-BCA7-4F9B-6FC1-8C6D98C344DF}"/>
              </a:ext>
            </a:extLst>
          </p:cNvPr>
          <p:cNvSpPr/>
          <p:nvPr/>
        </p:nvSpPr>
        <p:spPr>
          <a:xfrm>
            <a:off x="4527550" y="1989138"/>
            <a:ext cx="3186113" cy="2879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solidFill>
                <a:schemeClr val="tx2"/>
              </a:solidFill>
            </a:endParaRPr>
          </a:p>
        </p:txBody>
      </p:sp>
      <p:sp>
        <p:nvSpPr>
          <p:cNvPr id="3" name="Rectangle 2">
            <a:extLst>
              <a:ext uri="{FF2B5EF4-FFF2-40B4-BE49-F238E27FC236}">
                <a16:creationId xmlns:a16="http://schemas.microsoft.com/office/drawing/2014/main" id="{E53ACFD1-2192-EBE3-DD74-85A04C251399}"/>
              </a:ext>
            </a:extLst>
          </p:cNvPr>
          <p:cNvSpPr/>
          <p:nvPr/>
        </p:nvSpPr>
        <p:spPr>
          <a:xfrm>
            <a:off x="542925" y="1989138"/>
            <a:ext cx="3186113" cy="2879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solidFill>
                <a:schemeClr val="tx2"/>
              </a:solidFill>
            </a:endParaRPr>
          </a:p>
        </p:txBody>
      </p:sp>
      <p:sp>
        <p:nvSpPr>
          <p:cNvPr id="4" name="Rectangle 3">
            <a:extLst>
              <a:ext uri="{FF2B5EF4-FFF2-40B4-BE49-F238E27FC236}">
                <a16:creationId xmlns:a16="http://schemas.microsoft.com/office/drawing/2014/main" id="{EBAC8474-4912-2128-0718-8D1B6FAAC027}"/>
              </a:ext>
            </a:extLst>
          </p:cNvPr>
          <p:cNvSpPr/>
          <p:nvPr/>
        </p:nvSpPr>
        <p:spPr>
          <a:xfrm>
            <a:off x="8472488" y="1989138"/>
            <a:ext cx="3186112" cy="2879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solidFill>
                <a:schemeClr val="tx2"/>
              </a:solidFill>
            </a:endParaRPr>
          </a:p>
        </p:txBody>
      </p:sp>
      <p:cxnSp>
        <p:nvCxnSpPr>
          <p:cNvPr id="5" name="Straight Connector 4">
            <a:extLst>
              <a:ext uri="{FF2B5EF4-FFF2-40B4-BE49-F238E27FC236}">
                <a16:creationId xmlns:a16="http://schemas.microsoft.com/office/drawing/2014/main" id="{52A31BCD-BD82-D9CB-03BB-3F6B3649B125}"/>
              </a:ext>
            </a:extLst>
          </p:cNvPr>
          <p:cNvCxnSpPr/>
          <p:nvPr/>
        </p:nvCxnSpPr>
        <p:spPr>
          <a:xfrm>
            <a:off x="695325" y="4870450"/>
            <a:ext cx="2881313" cy="0"/>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7443ACE-E761-4DD9-D08B-2149D0F8452F}"/>
              </a:ext>
            </a:extLst>
          </p:cNvPr>
          <p:cNvCxnSpPr/>
          <p:nvPr/>
        </p:nvCxnSpPr>
        <p:spPr>
          <a:xfrm>
            <a:off x="4679950" y="4870450"/>
            <a:ext cx="2879725" cy="0"/>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C28A5EA-B07A-08BD-9E30-45F2B66329EE}"/>
              </a:ext>
            </a:extLst>
          </p:cNvPr>
          <p:cNvCxnSpPr/>
          <p:nvPr/>
        </p:nvCxnSpPr>
        <p:spPr>
          <a:xfrm>
            <a:off x="8626475" y="4870450"/>
            <a:ext cx="2879725" cy="0"/>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21"/>
          </p:nvPr>
        </p:nvSpPr>
        <p:spPr>
          <a:xfrm>
            <a:off x="553321" y="550779"/>
            <a:ext cx="8314454" cy="864136"/>
          </a:xfrm>
          <a:prstGeom prst="rect">
            <a:avLst/>
          </a:prstGeom>
        </p:spPr>
        <p:txBody>
          <a:bodyPr/>
          <a:lstStyle>
            <a:lvl1pPr marL="0" indent="0">
              <a:lnSpc>
                <a:spcPct val="100000"/>
              </a:lnSpc>
              <a:spcBef>
                <a:spcPts val="0"/>
              </a:spcBef>
              <a:buNone/>
              <a:defRPr sz="2400" b="1" baseline="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30" name="Text Placeholder 2"/>
          <p:cNvSpPr>
            <a:spLocks noGrp="1"/>
          </p:cNvSpPr>
          <p:nvPr>
            <p:ph type="body" sz="quarter" idx="14"/>
          </p:nvPr>
        </p:nvSpPr>
        <p:spPr>
          <a:xfrm>
            <a:off x="542991" y="3194207"/>
            <a:ext cx="3186000" cy="648000"/>
          </a:xfrm>
          <a:prstGeom prst="rect">
            <a:avLst/>
          </a:prstGeom>
        </p:spPr>
        <p:txBody>
          <a:bodyPr lIns="144000" rIns="144000" anchor="ctr">
            <a:noAutofit/>
          </a:bodyPr>
          <a:lstStyle>
            <a:lvl1pPr marL="0" indent="0" algn="ctr">
              <a:lnSpc>
                <a:spcPct val="100000"/>
              </a:lnSpc>
              <a:spcBef>
                <a:spcPts val="0"/>
              </a:spcBef>
              <a:buNone/>
              <a:defRPr sz="1600" b="1">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31" name="Text Placeholder 2"/>
          <p:cNvSpPr>
            <a:spLocks noGrp="1"/>
          </p:cNvSpPr>
          <p:nvPr>
            <p:ph type="body" sz="quarter" idx="15"/>
          </p:nvPr>
        </p:nvSpPr>
        <p:spPr>
          <a:xfrm>
            <a:off x="4527459" y="3194207"/>
            <a:ext cx="3186000" cy="648000"/>
          </a:xfrm>
          <a:prstGeom prst="rect">
            <a:avLst/>
          </a:prstGeom>
        </p:spPr>
        <p:txBody>
          <a:bodyPr lIns="144000" rIns="144000" anchor="ctr">
            <a:noAutofit/>
          </a:bodyPr>
          <a:lstStyle>
            <a:lvl1pPr marL="0" indent="0" algn="ctr">
              <a:lnSpc>
                <a:spcPct val="100000"/>
              </a:lnSpc>
              <a:spcBef>
                <a:spcPts val="0"/>
              </a:spcBef>
              <a:buNone/>
              <a:defRPr sz="1600" b="1">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32" name="Text Placeholder 2"/>
          <p:cNvSpPr>
            <a:spLocks noGrp="1"/>
          </p:cNvSpPr>
          <p:nvPr>
            <p:ph type="body" sz="quarter" idx="16"/>
          </p:nvPr>
        </p:nvSpPr>
        <p:spPr>
          <a:xfrm>
            <a:off x="8473004" y="3194207"/>
            <a:ext cx="3186000" cy="648000"/>
          </a:xfrm>
          <a:prstGeom prst="rect">
            <a:avLst/>
          </a:prstGeom>
        </p:spPr>
        <p:txBody>
          <a:bodyPr lIns="144000" rIns="144000" anchor="ctr">
            <a:noAutofit/>
          </a:bodyPr>
          <a:lstStyle>
            <a:lvl1pPr marL="0" indent="0" algn="ctr">
              <a:lnSpc>
                <a:spcPct val="100000"/>
              </a:lnSpc>
              <a:spcBef>
                <a:spcPts val="0"/>
              </a:spcBef>
              <a:buNone/>
              <a:defRPr sz="1600" b="1">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33" name="Text Placeholder 2"/>
          <p:cNvSpPr>
            <a:spLocks noGrp="1"/>
          </p:cNvSpPr>
          <p:nvPr>
            <p:ph type="body" sz="quarter" idx="17"/>
          </p:nvPr>
        </p:nvSpPr>
        <p:spPr>
          <a:xfrm>
            <a:off x="542991" y="3842207"/>
            <a:ext cx="3186000" cy="1026656"/>
          </a:xfrm>
          <a:prstGeom prst="rect">
            <a:avLst/>
          </a:prstGeom>
        </p:spPr>
        <p:txBody>
          <a:bodyPr lIns="144000" rIns="144000">
            <a:noAutofit/>
          </a:bodyPr>
          <a:lstStyle>
            <a:lvl1pPr marL="0" indent="0" algn="ctr">
              <a:lnSpc>
                <a:spcPct val="100000"/>
              </a:lnSpc>
              <a:spcBef>
                <a:spcPts val="0"/>
              </a:spcBef>
              <a:spcAft>
                <a:spcPts val="600"/>
              </a:spcAft>
              <a:buNone/>
              <a:defRPr sz="1200" b="0">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34" name="Text Placeholder 2"/>
          <p:cNvSpPr>
            <a:spLocks noGrp="1"/>
          </p:cNvSpPr>
          <p:nvPr>
            <p:ph type="body" sz="quarter" idx="18"/>
          </p:nvPr>
        </p:nvSpPr>
        <p:spPr>
          <a:xfrm>
            <a:off x="4527459" y="3842207"/>
            <a:ext cx="3186000" cy="1026656"/>
          </a:xfrm>
          <a:prstGeom prst="rect">
            <a:avLst/>
          </a:prstGeom>
        </p:spPr>
        <p:txBody>
          <a:bodyPr lIns="144000" rIns="144000">
            <a:noAutofit/>
          </a:bodyPr>
          <a:lstStyle>
            <a:lvl1pPr marL="0" indent="0" algn="ctr">
              <a:lnSpc>
                <a:spcPct val="100000"/>
              </a:lnSpc>
              <a:spcBef>
                <a:spcPts val="0"/>
              </a:spcBef>
              <a:spcAft>
                <a:spcPts val="600"/>
              </a:spcAft>
              <a:buNone/>
              <a:defRPr sz="1200" b="0">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35" name="Text Placeholder 2"/>
          <p:cNvSpPr>
            <a:spLocks noGrp="1"/>
          </p:cNvSpPr>
          <p:nvPr>
            <p:ph type="body" sz="quarter" idx="19"/>
          </p:nvPr>
        </p:nvSpPr>
        <p:spPr>
          <a:xfrm>
            <a:off x="8473004" y="3842207"/>
            <a:ext cx="3186000" cy="1026656"/>
          </a:xfrm>
          <a:prstGeom prst="rect">
            <a:avLst/>
          </a:prstGeom>
        </p:spPr>
        <p:txBody>
          <a:bodyPr lIns="144000" rIns="144000">
            <a:noAutofit/>
          </a:bodyPr>
          <a:lstStyle>
            <a:lvl1pPr marL="0" indent="0" algn="ctr">
              <a:lnSpc>
                <a:spcPct val="100000"/>
              </a:lnSpc>
              <a:spcBef>
                <a:spcPts val="0"/>
              </a:spcBef>
              <a:spcAft>
                <a:spcPts val="600"/>
              </a:spcAft>
              <a:buNone/>
              <a:defRPr sz="1200" b="0">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39" name="Text Placeholder 2"/>
          <p:cNvSpPr>
            <a:spLocks noGrp="1"/>
          </p:cNvSpPr>
          <p:nvPr>
            <p:ph type="body" sz="quarter" idx="20"/>
          </p:nvPr>
        </p:nvSpPr>
        <p:spPr>
          <a:xfrm>
            <a:off x="542991" y="5113538"/>
            <a:ext cx="3186000" cy="1194334"/>
          </a:xfrm>
          <a:prstGeom prst="rect">
            <a:avLst/>
          </a:prstGeom>
          <a:solidFill>
            <a:schemeClr val="accent1"/>
          </a:solidFill>
        </p:spPr>
        <p:txBody>
          <a:bodyPr lIns="144000" rIns="144000" anchor="ctr">
            <a:noAutofit/>
          </a:bodyPr>
          <a:lstStyle>
            <a:lvl1pPr marL="0" indent="0" algn="ctr">
              <a:lnSpc>
                <a:spcPct val="100000"/>
              </a:lnSpc>
              <a:spcBef>
                <a:spcPts val="0"/>
              </a:spcBef>
              <a:buNone/>
              <a:defRPr sz="1600" b="1">
                <a:solidFill>
                  <a:schemeClr val="bg1"/>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40" name="Text Placeholder 2"/>
          <p:cNvSpPr>
            <a:spLocks noGrp="1"/>
          </p:cNvSpPr>
          <p:nvPr>
            <p:ph type="body" sz="quarter" idx="22"/>
          </p:nvPr>
        </p:nvSpPr>
        <p:spPr>
          <a:xfrm>
            <a:off x="4527459" y="5113538"/>
            <a:ext cx="3186000" cy="1194334"/>
          </a:xfrm>
          <a:prstGeom prst="rect">
            <a:avLst/>
          </a:prstGeom>
          <a:solidFill>
            <a:schemeClr val="accent1"/>
          </a:solidFill>
        </p:spPr>
        <p:txBody>
          <a:bodyPr lIns="144000" rIns="144000" anchor="ctr">
            <a:noAutofit/>
          </a:bodyPr>
          <a:lstStyle>
            <a:lvl1pPr marL="0" indent="0" algn="ctr">
              <a:lnSpc>
                <a:spcPct val="100000"/>
              </a:lnSpc>
              <a:spcBef>
                <a:spcPts val="0"/>
              </a:spcBef>
              <a:buNone/>
              <a:defRPr sz="1600" b="1">
                <a:solidFill>
                  <a:schemeClr val="bg1"/>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41" name="Text Placeholder 2"/>
          <p:cNvSpPr>
            <a:spLocks noGrp="1"/>
          </p:cNvSpPr>
          <p:nvPr>
            <p:ph type="body" sz="quarter" idx="23"/>
          </p:nvPr>
        </p:nvSpPr>
        <p:spPr>
          <a:xfrm>
            <a:off x="8473004" y="5113538"/>
            <a:ext cx="3186000" cy="1194334"/>
          </a:xfrm>
          <a:prstGeom prst="rect">
            <a:avLst/>
          </a:prstGeom>
          <a:solidFill>
            <a:schemeClr val="accent1"/>
          </a:solidFill>
        </p:spPr>
        <p:txBody>
          <a:bodyPr lIns="144000" rIns="144000" anchor="ctr">
            <a:noAutofit/>
          </a:bodyPr>
          <a:lstStyle>
            <a:lvl1pPr marL="0" indent="0" algn="ctr">
              <a:lnSpc>
                <a:spcPct val="100000"/>
              </a:lnSpc>
              <a:spcBef>
                <a:spcPts val="0"/>
              </a:spcBef>
              <a:buNone/>
              <a:defRPr sz="1600" b="1">
                <a:solidFill>
                  <a:schemeClr val="bg1"/>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8" name="Slide Number Placeholder 3">
            <a:extLst>
              <a:ext uri="{FF2B5EF4-FFF2-40B4-BE49-F238E27FC236}">
                <a16:creationId xmlns:a16="http://schemas.microsoft.com/office/drawing/2014/main" id="{EB1D2F0C-441A-527D-7E4E-32C28FF76C27}"/>
              </a:ext>
            </a:extLst>
          </p:cNvPr>
          <p:cNvSpPr>
            <a:spLocks noGrp="1"/>
          </p:cNvSpPr>
          <p:nvPr>
            <p:ph type="sldNum" sz="quarter" idx="24"/>
          </p:nvPr>
        </p:nvSpPr>
        <p:spPr/>
        <p:txBody>
          <a:bodyPr/>
          <a:lstStyle>
            <a:lvl1pPr algn="r">
              <a:defRPr sz="1000">
                <a:solidFill>
                  <a:srgbClr val="000000"/>
                </a:solidFill>
              </a:defRPr>
            </a:lvl1pPr>
          </a:lstStyle>
          <a:p>
            <a:pPr>
              <a:defRPr/>
            </a:pPr>
            <a:fld id="{84BAFE2D-F951-4CCA-B781-46381C5018AD}" type="slidenum">
              <a:rPr lang="en-GB"/>
              <a:pPr>
                <a:defRPr/>
              </a:pPr>
              <a:t>‹#›</a:t>
            </a:fld>
            <a:endParaRPr lang="en-GB" dirty="0"/>
          </a:p>
        </p:txBody>
      </p:sp>
    </p:spTree>
    <p:extLst>
      <p:ext uri="{BB962C8B-B14F-4D97-AF65-F5344CB8AC3E}">
        <p14:creationId xmlns:p14="http://schemas.microsoft.com/office/powerpoint/2010/main" val="1453798520"/>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_blue_backgrou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ED614E-0EF6-859B-5CEC-85CD784A744A}"/>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5">
            <a:extLst>
              <a:ext uri="{FF2B5EF4-FFF2-40B4-BE49-F238E27FC236}">
                <a16:creationId xmlns:a16="http://schemas.microsoft.com/office/drawing/2014/main" id="{AA7747F4-228F-3B7E-1DF4-AB1BD49BDE6E}"/>
              </a:ext>
            </a:extLst>
          </p:cNvPr>
          <p:cNvSpPr>
            <a:spLocks noEditPoints="1"/>
          </p:cNvSpPr>
          <p:nvPr/>
        </p:nvSpPr>
        <p:spPr bwMode="auto">
          <a:xfrm>
            <a:off x="9721850" y="558800"/>
            <a:ext cx="1908175" cy="379413"/>
          </a:xfrm>
          <a:custGeom>
            <a:avLst/>
            <a:gdLst>
              <a:gd name="T0" fmla="*/ 1714967 w 1196"/>
              <a:gd name="T1" fmla="*/ 111125 h 239"/>
              <a:gd name="T2" fmla="*/ 1729324 w 1196"/>
              <a:gd name="T3" fmla="*/ 142875 h 239"/>
              <a:gd name="T4" fmla="*/ 1695823 w 1196"/>
              <a:gd name="T5" fmla="*/ 130175 h 239"/>
              <a:gd name="T6" fmla="*/ 1649559 w 1196"/>
              <a:gd name="T7" fmla="*/ 368300 h 239"/>
              <a:gd name="T8" fmla="*/ 1750064 w 1196"/>
              <a:gd name="T9" fmla="*/ 376238 h 239"/>
              <a:gd name="T10" fmla="*/ 1813876 w 1196"/>
              <a:gd name="T11" fmla="*/ 309563 h 239"/>
              <a:gd name="T12" fmla="*/ 1764421 w 1196"/>
              <a:gd name="T13" fmla="*/ 212725 h 239"/>
              <a:gd name="T14" fmla="*/ 1756445 w 1196"/>
              <a:gd name="T15" fmla="*/ 142875 h 239"/>
              <a:gd name="T16" fmla="*/ 1746873 w 1196"/>
              <a:gd name="T17" fmla="*/ 100013 h 239"/>
              <a:gd name="T18" fmla="*/ 1697418 w 1196"/>
              <a:gd name="T19" fmla="*/ 92075 h 239"/>
              <a:gd name="T20" fmla="*/ 1670298 w 1196"/>
              <a:gd name="T21" fmla="*/ 130175 h 239"/>
              <a:gd name="T22" fmla="*/ 1665512 w 1196"/>
              <a:gd name="T23" fmla="*/ 187325 h 239"/>
              <a:gd name="T24" fmla="*/ 1633605 w 1196"/>
              <a:gd name="T25" fmla="*/ 322263 h 239"/>
              <a:gd name="T26" fmla="*/ 1531505 w 1196"/>
              <a:gd name="T27" fmla="*/ 133350 h 239"/>
              <a:gd name="T28" fmla="*/ 1608080 w 1196"/>
              <a:gd name="T29" fmla="*/ 33338 h 239"/>
              <a:gd name="T30" fmla="*/ 1716562 w 1196"/>
              <a:gd name="T31" fmla="*/ 0 h 239"/>
              <a:gd name="T32" fmla="*/ 1837806 w 1196"/>
              <a:gd name="T33" fmla="*/ 42863 h 239"/>
              <a:gd name="T34" fmla="*/ 1904809 w 1196"/>
              <a:gd name="T35" fmla="*/ 149225 h 239"/>
              <a:gd name="T36" fmla="*/ 1895237 w 1196"/>
              <a:gd name="T37" fmla="*/ 254000 h 239"/>
              <a:gd name="T38" fmla="*/ 1844187 w 1196"/>
              <a:gd name="T39" fmla="*/ 276225 h 239"/>
              <a:gd name="T40" fmla="*/ 1872903 w 1196"/>
              <a:gd name="T41" fmla="*/ 187325 h 239"/>
              <a:gd name="T42" fmla="*/ 1845783 w 1196"/>
              <a:gd name="T43" fmla="*/ 101600 h 239"/>
              <a:gd name="T44" fmla="*/ 1761231 w 1196"/>
              <a:gd name="T45" fmla="*/ 39688 h 239"/>
              <a:gd name="T46" fmla="*/ 1668702 w 1196"/>
              <a:gd name="T47" fmla="*/ 39688 h 239"/>
              <a:gd name="T48" fmla="*/ 1587341 w 1196"/>
              <a:gd name="T49" fmla="*/ 101600 h 239"/>
              <a:gd name="T50" fmla="*/ 1560221 w 1196"/>
              <a:gd name="T51" fmla="*/ 187325 h 239"/>
              <a:gd name="T52" fmla="*/ 1587341 w 1196"/>
              <a:gd name="T53" fmla="*/ 276225 h 239"/>
              <a:gd name="T54" fmla="*/ 1536291 w 1196"/>
              <a:gd name="T55" fmla="*/ 254000 h 239"/>
              <a:gd name="T56" fmla="*/ 1357615 w 1196"/>
              <a:gd name="T57" fmla="*/ 130175 h 239"/>
              <a:gd name="T58" fmla="*/ 1333686 w 1196"/>
              <a:gd name="T59" fmla="*/ 247650 h 239"/>
              <a:gd name="T60" fmla="*/ 1276254 w 1196"/>
              <a:gd name="T61" fmla="*/ 157163 h 239"/>
              <a:gd name="T62" fmla="*/ 1111936 w 1196"/>
              <a:gd name="T63" fmla="*/ 176213 h 239"/>
              <a:gd name="T64" fmla="*/ 1169368 w 1196"/>
              <a:gd name="T65" fmla="*/ 127000 h 239"/>
              <a:gd name="T66" fmla="*/ 1214037 w 1196"/>
              <a:gd name="T67" fmla="*/ 149225 h 239"/>
              <a:gd name="T68" fmla="*/ 1175749 w 1196"/>
              <a:gd name="T69" fmla="*/ 152400 h 239"/>
              <a:gd name="T70" fmla="*/ 1147033 w 1196"/>
              <a:gd name="T71" fmla="*/ 168275 h 239"/>
              <a:gd name="T72" fmla="*/ 1155010 w 1196"/>
              <a:gd name="T73" fmla="*/ 219075 h 239"/>
              <a:gd name="T74" fmla="*/ 1191702 w 1196"/>
              <a:gd name="T75" fmla="*/ 204788 h 239"/>
              <a:gd name="T76" fmla="*/ 1198084 w 1196"/>
              <a:gd name="T77" fmla="*/ 247650 h 239"/>
              <a:gd name="T78" fmla="*/ 1127890 w 1196"/>
              <a:gd name="T79" fmla="*/ 236538 h 239"/>
              <a:gd name="T80" fmla="*/ 1043338 w 1196"/>
              <a:gd name="T81" fmla="*/ 161925 h 239"/>
              <a:gd name="T82" fmla="*/ 1073649 w 1196"/>
              <a:gd name="T83" fmla="*/ 247650 h 239"/>
              <a:gd name="T84" fmla="*/ 891783 w 1196"/>
              <a:gd name="T85" fmla="*/ 177800 h 239"/>
              <a:gd name="T86" fmla="*/ 863067 w 1196"/>
              <a:gd name="T87" fmla="*/ 130175 h 239"/>
              <a:gd name="T88" fmla="*/ 794468 w 1196"/>
              <a:gd name="T89" fmla="*/ 185738 h 239"/>
              <a:gd name="T90" fmla="*/ 729060 w 1196"/>
              <a:gd name="T91" fmla="*/ 201613 h 239"/>
              <a:gd name="T92" fmla="*/ 705130 w 1196"/>
              <a:gd name="T93" fmla="*/ 176213 h 239"/>
              <a:gd name="T94" fmla="*/ 492953 w 1196"/>
              <a:gd name="T95" fmla="*/ 247650 h 239"/>
              <a:gd name="T96" fmla="*/ 567933 w 1196"/>
              <a:gd name="T97" fmla="*/ 200025 h 239"/>
              <a:gd name="T98" fmla="*/ 433926 w 1196"/>
              <a:gd name="T99" fmla="*/ 203200 h 239"/>
              <a:gd name="T100" fmla="*/ 392448 w 1196"/>
              <a:gd name="T101" fmla="*/ 130175 h 239"/>
              <a:gd name="T102" fmla="*/ 277585 w 1196"/>
              <a:gd name="T103" fmla="*/ 201613 h 239"/>
              <a:gd name="T104" fmla="*/ 247274 w 1196"/>
              <a:gd name="T105" fmla="*/ 130175 h 239"/>
              <a:gd name="T106" fmla="*/ 132411 w 1196"/>
              <a:gd name="T107" fmla="*/ 239713 h 239"/>
              <a:gd name="T108" fmla="*/ 188247 w 1196"/>
              <a:gd name="T109" fmla="*/ 249238 h 239"/>
              <a:gd name="T110" fmla="*/ 220154 w 1196"/>
              <a:gd name="T111" fmla="*/ 130175 h 239"/>
              <a:gd name="T112" fmla="*/ 170699 w 1196"/>
              <a:gd name="T113" fmla="*/ 225425 h 239"/>
              <a:gd name="T114" fmla="*/ 118054 w 1196"/>
              <a:gd name="T115" fmla="*/ 130175 h 239"/>
              <a:gd name="T116" fmla="*/ 105291 w 1196"/>
              <a:gd name="T117" fmla="*/ 247650 h 239"/>
              <a:gd name="T118" fmla="*/ 0 w 1196"/>
              <a:gd name="T119" fmla="*/ 247650 h 2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96" h="239">
                <a:moveTo>
                  <a:pt x="1063" y="82"/>
                </a:moveTo>
                <a:lnTo>
                  <a:pt x="1063" y="82"/>
                </a:lnTo>
                <a:lnTo>
                  <a:pt x="1064" y="78"/>
                </a:lnTo>
                <a:lnTo>
                  <a:pt x="1066" y="73"/>
                </a:lnTo>
                <a:lnTo>
                  <a:pt x="1070" y="71"/>
                </a:lnTo>
                <a:lnTo>
                  <a:pt x="1075" y="70"/>
                </a:lnTo>
                <a:lnTo>
                  <a:pt x="1080" y="71"/>
                </a:lnTo>
                <a:lnTo>
                  <a:pt x="1084" y="73"/>
                </a:lnTo>
                <a:lnTo>
                  <a:pt x="1086" y="78"/>
                </a:lnTo>
                <a:lnTo>
                  <a:pt x="1087" y="82"/>
                </a:lnTo>
                <a:lnTo>
                  <a:pt x="1086" y="87"/>
                </a:lnTo>
                <a:lnTo>
                  <a:pt x="1084" y="90"/>
                </a:lnTo>
                <a:lnTo>
                  <a:pt x="1080" y="93"/>
                </a:lnTo>
                <a:lnTo>
                  <a:pt x="1075" y="94"/>
                </a:lnTo>
                <a:lnTo>
                  <a:pt x="1070" y="93"/>
                </a:lnTo>
                <a:lnTo>
                  <a:pt x="1066" y="90"/>
                </a:lnTo>
                <a:lnTo>
                  <a:pt x="1064" y="87"/>
                </a:lnTo>
                <a:lnTo>
                  <a:pt x="1063" y="82"/>
                </a:lnTo>
                <a:close/>
                <a:moveTo>
                  <a:pt x="998" y="211"/>
                </a:moveTo>
                <a:lnTo>
                  <a:pt x="998" y="211"/>
                </a:lnTo>
                <a:lnTo>
                  <a:pt x="1006" y="217"/>
                </a:lnTo>
                <a:lnTo>
                  <a:pt x="1015" y="222"/>
                </a:lnTo>
                <a:lnTo>
                  <a:pt x="1024" y="227"/>
                </a:lnTo>
                <a:lnTo>
                  <a:pt x="1034" y="232"/>
                </a:lnTo>
                <a:lnTo>
                  <a:pt x="1044" y="235"/>
                </a:lnTo>
                <a:lnTo>
                  <a:pt x="1054" y="237"/>
                </a:lnTo>
                <a:lnTo>
                  <a:pt x="1064" y="238"/>
                </a:lnTo>
                <a:lnTo>
                  <a:pt x="1076" y="239"/>
                </a:lnTo>
                <a:lnTo>
                  <a:pt x="1086" y="238"/>
                </a:lnTo>
                <a:lnTo>
                  <a:pt x="1097" y="237"/>
                </a:lnTo>
                <a:lnTo>
                  <a:pt x="1106" y="235"/>
                </a:lnTo>
                <a:lnTo>
                  <a:pt x="1117" y="232"/>
                </a:lnTo>
                <a:lnTo>
                  <a:pt x="1126" y="227"/>
                </a:lnTo>
                <a:lnTo>
                  <a:pt x="1136" y="222"/>
                </a:lnTo>
                <a:lnTo>
                  <a:pt x="1144" y="217"/>
                </a:lnTo>
                <a:lnTo>
                  <a:pt x="1153" y="211"/>
                </a:lnTo>
                <a:lnTo>
                  <a:pt x="1137" y="195"/>
                </a:lnTo>
                <a:lnTo>
                  <a:pt x="1126" y="203"/>
                </a:lnTo>
                <a:lnTo>
                  <a:pt x="1114" y="211"/>
                </a:lnTo>
                <a:lnTo>
                  <a:pt x="1100" y="216"/>
                </a:lnTo>
                <a:lnTo>
                  <a:pt x="1086" y="218"/>
                </a:lnTo>
                <a:lnTo>
                  <a:pt x="1086" y="134"/>
                </a:lnTo>
                <a:lnTo>
                  <a:pt x="1106" y="134"/>
                </a:lnTo>
                <a:lnTo>
                  <a:pt x="1106" y="118"/>
                </a:lnTo>
                <a:lnTo>
                  <a:pt x="1086" y="118"/>
                </a:lnTo>
                <a:lnTo>
                  <a:pt x="1086" y="106"/>
                </a:lnTo>
                <a:lnTo>
                  <a:pt x="1093" y="103"/>
                </a:lnTo>
                <a:lnTo>
                  <a:pt x="1098" y="97"/>
                </a:lnTo>
                <a:lnTo>
                  <a:pt x="1101" y="90"/>
                </a:lnTo>
                <a:lnTo>
                  <a:pt x="1102" y="86"/>
                </a:lnTo>
                <a:lnTo>
                  <a:pt x="1103" y="82"/>
                </a:lnTo>
                <a:lnTo>
                  <a:pt x="1102" y="77"/>
                </a:lnTo>
                <a:lnTo>
                  <a:pt x="1101" y="71"/>
                </a:lnTo>
                <a:lnTo>
                  <a:pt x="1098" y="67"/>
                </a:lnTo>
                <a:lnTo>
                  <a:pt x="1095" y="63"/>
                </a:lnTo>
                <a:lnTo>
                  <a:pt x="1091" y="60"/>
                </a:lnTo>
                <a:lnTo>
                  <a:pt x="1086" y="58"/>
                </a:lnTo>
                <a:lnTo>
                  <a:pt x="1081" y="56"/>
                </a:lnTo>
                <a:lnTo>
                  <a:pt x="1076" y="56"/>
                </a:lnTo>
                <a:lnTo>
                  <a:pt x="1069" y="56"/>
                </a:lnTo>
                <a:lnTo>
                  <a:pt x="1064" y="58"/>
                </a:lnTo>
                <a:lnTo>
                  <a:pt x="1060" y="60"/>
                </a:lnTo>
                <a:lnTo>
                  <a:pt x="1056" y="63"/>
                </a:lnTo>
                <a:lnTo>
                  <a:pt x="1053" y="67"/>
                </a:lnTo>
                <a:lnTo>
                  <a:pt x="1049" y="71"/>
                </a:lnTo>
                <a:lnTo>
                  <a:pt x="1048" y="77"/>
                </a:lnTo>
                <a:lnTo>
                  <a:pt x="1047" y="82"/>
                </a:lnTo>
                <a:lnTo>
                  <a:pt x="1048" y="86"/>
                </a:lnTo>
                <a:lnTo>
                  <a:pt x="1049" y="90"/>
                </a:lnTo>
                <a:lnTo>
                  <a:pt x="1053" y="97"/>
                </a:lnTo>
                <a:lnTo>
                  <a:pt x="1058" y="103"/>
                </a:lnTo>
                <a:lnTo>
                  <a:pt x="1064" y="106"/>
                </a:lnTo>
                <a:lnTo>
                  <a:pt x="1064" y="118"/>
                </a:lnTo>
                <a:lnTo>
                  <a:pt x="1044" y="118"/>
                </a:lnTo>
                <a:lnTo>
                  <a:pt x="1044" y="134"/>
                </a:lnTo>
                <a:lnTo>
                  <a:pt x="1064" y="134"/>
                </a:lnTo>
                <a:lnTo>
                  <a:pt x="1064" y="218"/>
                </a:lnTo>
                <a:lnTo>
                  <a:pt x="1050" y="216"/>
                </a:lnTo>
                <a:lnTo>
                  <a:pt x="1037" y="211"/>
                </a:lnTo>
                <a:lnTo>
                  <a:pt x="1024" y="203"/>
                </a:lnTo>
                <a:lnTo>
                  <a:pt x="1014" y="195"/>
                </a:lnTo>
                <a:lnTo>
                  <a:pt x="998" y="211"/>
                </a:lnTo>
                <a:close/>
                <a:moveTo>
                  <a:pt x="954" y="118"/>
                </a:moveTo>
                <a:lnTo>
                  <a:pt x="954" y="118"/>
                </a:lnTo>
                <a:lnTo>
                  <a:pt x="956" y="107"/>
                </a:lnTo>
                <a:lnTo>
                  <a:pt x="958" y="94"/>
                </a:lnTo>
                <a:lnTo>
                  <a:pt x="960" y="84"/>
                </a:lnTo>
                <a:lnTo>
                  <a:pt x="964" y="72"/>
                </a:lnTo>
                <a:lnTo>
                  <a:pt x="969" y="62"/>
                </a:lnTo>
                <a:lnTo>
                  <a:pt x="976" y="52"/>
                </a:lnTo>
                <a:lnTo>
                  <a:pt x="982" y="43"/>
                </a:lnTo>
                <a:lnTo>
                  <a:pt x="990" y="35"/>
                </a:lnTo>
                <a:lnTo>
                  <a:pt x="999" y="27"/>
                </a:lnTo>
                <a:lnTo>
                  <a:pt x="1008" y="21"/>
                </a:lnTo>
                <a:lnTo>
                  <a:pt x="1018" y="15"/>
                </a:lnTo>
                <a:lnTo>
                  <a:pt x="1028" y="9"/>
                </a:lnTo>
                <a:lnTo>
                  <a:pt x="1040" y="5"/>
                </a:lnTo>
                <a:lnTo>
                  <a:pt x="1052" y="3"/>
                </a:lnTo>
                <a:lnTo>
                  <a:pt x="1063" y="1"/>
                </a:lnTo>
                <a:lnTo>
                  <a:pt x="1076" y="0"/>
                </a:lnTo>
                <a:lnTo>
                  <a:pt x="1087" y="1"/>
                </a:lnTo>
                <a:lnTo>
                  <a:pt x="1100" y="3"/>
                </a:lnTo>
                <a:lnTo>
                  <a:pt x="1111" y="5"/>
                </a:lnTo>
                <a:lnTo>
                  <a:pt x="1122" y="9"/>
                </a:lnTo>
                <a:lnTo>
                  <a:pt x="1133" y="15"/>
                </a:lnTo>
                <a:lnTo>
                  <a:pt x="1142" y="21"/>
                </a:lnTo>
                <a:lnTo>
                  <a:pt x="1152" y="27"/>
                </a:lnTo>
                <a:lnTo>
                  <a:pt x="1160" y="35"/>
                </a:lnTo>
                <a:lnTo>
                  <a:pt x="1169" y="43"/>
                </a:lnTo>
                <a:lnTo>
                  <a:pt x="1175" y="52"/>
                </a:lnTo>
                <a:lnTo>
                  <a:pt x="1181" y="62"/>
                </a:lnTo>
                <a:lnTo>
                  <a:pt x="1187" y="72"/>
                </a:lnTo>
                <a:lnTo>
                  <a:pt x="1191" y="84"/>
                </a:lnTo>
                <a:lnTo>
                  <a:pt x="1194" y="94"/>
                </a:lnTo>
                <a:lnTo>
                  <a:pt x="1195" y="107"/>
                </a:lnTo>
                <a:lnTo>
                  <a:pt x="1196" y="118"/>
                </a:lnTo>
                <a:lnTo>
                  <a:pt x="1195" y="130"/>
                </a:lnTo>
                <a:lnTo>
                  <a:pt x="1194" y="140"/>
                </a:lnTo>
                <a:lnTo>
                  <a:pt x="1192" y="151"/>
                </a:lnTo>
                <a:lnTo>
                  <a:pt x="1188" y="160"/>
                </a:lnTo>
                <a:lnTo>
                  <a:pt x="1184" y="171"/>
                </a:lnTo>
                <a:lnTo>
                  <a:pt x="1179" y="179"/>
                </a:lnTo>
                <a:lnTo>
                  <a:pt x="1173" y="189"/>
                </a:lnTo>
                <a:lnTo>
                  <a:pt x="1166" y="197"/>
                </a:lnTo>
                <a:lnTo>
                  <a:pt x="1151" y="181"/>
                </a:lnTo>
                <a:lnTo>
                  <a:pt x="1156" y="174"/>
                </a:lnTo>
                <a:lnTo>
                  <a:pt x="1160" y="167"/>
                </a:lnTo>
                <a:lnTo>
                  <a:pt x="1164" y="159"/>
                </a:lnTo>
                <a:lnTo>
                  <a:pt x="1168" y="152"/>
                </a:lnTo>
                <a:lnTo>
                  <a:pt x="1170" y="144"/>
                </a:lnTo>
                <a:lnTo>
                  <a:pt x="1172" y="135"/>
                </a:lnTo>
                <a:lnTo>
                  <a:pt x="1173" y="127"/>
                </a:lnTo>
                <a:lnTo>
                  <a:pt x="1174" y="118"/>
                </a:lnTo>
                <a:lnTo>
                  <a:pt x="1173" y="109"/>
                </a:lnTo>
                <a:lnTo>
                  <a:pt x="1172" y="100"/>
                </a:lnTo>
                <a:lnTo>
                  <a:pt x="1169" y="90"/>
                </a:lnTo>
                <a:lnTo>
                  <a:pt x="1165" y="81"/>
                </a:lnTo>
                <a:lnTo>
                  <a:pt x="1161" y="72"/>
                </a:lnTo>
                <a:lnTo>
                  <a:pt x="1157" y="64"/>
                </a:lnTo>
                <a:lnTo>
                  <a:pt x="1151" y="57"/>
                </a:lnTo>
                <a:lnTo>
                  <a:pt x="1144" y="49"/>
                </a:lnTo>
                <a:lnTo>
                  <a:pt x="1138" y="43"/>
                </a:lnTo>
                <a:lnTo>
                  <a:pt x="1130" y="38"/>
                </a:lnTo>
                <a:lnTo>
                  <a:pt x="1122" y="32"/>
                </a:lnTo>
                <a:lnTo>
                  <a:pt x="1114" y="28"/>
                </a:lnTo>
                <a:lnTo>
                  <a:pt x="1104" y="25"/>
                </a:lnTo>
                <a:lnTo>
                  <a:pt x="1095" y="23"/>
                </a:lnTo>
                <a:lnTo>
                  <a:pt x="1085" y="21"/>
                </a:lnTo>
                <a:lnTo>
                  <a:pt x="1076" y="21"/>
                </a:lnTo>
                <a:lnTo>
                  <a:pt x="1065" y="21"/>
                </a:lnTo>
                <a:lnTo>
                  <a:pt x="1056" y="23"/>
                </a:lnTo>
                <a:lnTo>
                  <a:pt x="1046" y="25"/>
                </a:lnTo>
                <a:lnTo>
                  <a:pt x="1037" y="28"/>
                </a:lnTo>
                <a:lnTo>
                  <a:pt x="1028" y="32"/>
                </a:lnTo>
                <a:lnTo>
                  <a:pt x="1021" y="38"/>
                </a:lnTo>
                <a:lnTo>
                  <a:pt x="1014" y="43"/>
                </a:lnTo>
                <a:lnTo>
                  <a:pt x="1006" y="49"/>
                </a:lnTo>
                <a:lnTo>
                  <a:pt x="1000" y="57"/>
                </a:lnTo>
                <a:lnTo>
                  <a:pt x="995" y="64"/>
                </a:lnTo>
                <a:lnTo>
                  <a:pt x="989" y="72"/>
                </a:lnTo>
                <a:lnTo>
                  <a:pt x="985" y="81"/>
                </a:lnTo>
                <a:lnTo>
                  <a:pt x="982" y="90"/>
                </a:lnTo>
                <a:lnTo>
                  <a:pt x="979" y="100"/>
                </a:lnTo>
                <a:lnTo>
                  <a:pt x="978" y="109"/>
                </a:lnTo>
                <a:lnTo>
                  <a:pt x="978" y="118"/>
                </a:lnTo>
                <a:lnTo>
                  <a:pt x="978" y="127"/>
                </a:lnTo>
                <a:lnTo>
                  <a:pt x="979" y="135"/>
                </a:lnTo>
                <a:lnTo>
                  <a:pt x="981" y="144"/>
                </a:lnTo>
                <a:lnTo>
                  <a:pt x="983" y="152"/>
                </a:lnTo>
                <a:lnTo>
                  <a:pt x="986" y="159"/>
                </a:lnTo>
                <a:lnTo>
                  <a:pt x="990" y="167"/>
                </a:lnTo>
                <a:lnTo>
                  <a:pt x="995" y="174"/>
                </a:lnTo>
                <a:lnTo>
                  <a:pt x="1000" y="181"/>
                </a:lnTo>
                <a:lnTo>
                  <a:pt x="984" y="197"/>
                </a:lnTo>
                <a:lnTo>
                  <a:pt x="978" y="189"/>
                </a:lnTo>
                <a:lnTo>
                  <a:pt x="971" y="179"/>
                </a:lnTo>
                <a:lnTo>
                  <a:pt x="967" y="171"/>
                </a:lnTo>
                <a:lnTo>
                  <a:pt x="963" y="160"/>
                </a:lnTo>
                <a:lnTo>
                  <a:pt x="959" y="151"/>
                </a:lnTo>
                <a:lnTo>
                  <a:pt x="957" y="140"/>
                </a:lnTo>
                <a:lnTo>
                  <a:pt x="956" y="130"/>
                </a:lnTo>
                <a:lnTo>
                  <a:pt x="954" y="118"/>
                </a:lnTo>
                <a:close/>
                <a:moveTo>
                  <a:pt x="851" y="156"/>
                </a:moveTo>
                <a:lnTo>
                  <a:pt x="851" y="82"/>
                </a:lnTo>
                <a:lnTo>
                  <a:pt x="871" y="82"/>
                </a:lnTo>
                <a:lnTo>
                  <a:pt x="871" y="139"/>
                </a:lnTo>
                <a:lnTo>
                  <a:pt x="905" y="139"/>
                </a:lnTo>
                <a:lnTo>
                  <a:pt x="905" y="156"/>
                </a:lnTo>
                <a:lnTo>
                  <a:pt x="851" y="156"/>
                </a:lnTo>
                <a:close/>
                <a:moveTo>
                  <a:pt x="782" y="156"/>
                </a:moveTo>
                <a:lnTo>
                  <a:pt x="836" y="156"/>
                </a:lnTo>
                <a:lnTo>
                  <a:pt x="836" y="139"/>
                </a:lnTo>
                <a:lnTo>
                  <a:pt x="800" y="139"/>
                </a:lnTo>
                <a:lnTo>
                  <a:pt x="800" y="127"/>
                </a:lnTo>
                <a:lnTo>
                  <a:pt x="830" y="127"/>
                </a:lnTo>
                <a:lnTo>
                  <a:pt x="830" y="111"/>
                </a:lnTo>
                <a:lnTo>
                  <a:pt x="800" y="111"/>
                </a:lnTo>
                <a:lnTo>
                  <a:pt x="800" y="99"/>
                </a:lnTo>
                <a:lnTo>
                  <a:pt x="835" y="99"/>
                </a:lnTo>
                <a:lnTo>
                  <a:pt x="835" y="82"/>
                </a:lnTo>
                <a:lnTo>
                  <a:pt x="782" y="82"/>
                </a:lnTo>
                <a:lnTo>
                  <a:pt x="782" y="156"/>
                </a:lnTo>
                <a:close/>
                <a:moveTo>
                  <a:pt x="696" y="120"/>
                </a:moveTo>
                <a:lnTo>
                  <a:pt x="696" y="120"/>
                </a:lnTo>
                <a:lnTo>
                  <a:pt x="697" y="111"/>
                </a:lnTo>
                <a:lnTo>
                  <a:pt x="699" y="104"/>
                </a:lnTo>
                <a:lnTo>
                  <a:pt x="702" y="96"/>
                </a:lnTo>
                <a:lnTo>
                  <a:pt x="707" y="91"/>
                </a:lnTo>
                <a:lnTo>
                  <a:pt x="712" y="86"/>
                </a:lnTo>
                <a:lnTo>
                  <a:pt x="718" y="83"/>
                </a:lnTo>
                <a:lnTo>
                  <a:pt x="725" y="81"/>
                </a:lnTo>
                <a:lnTo>
                  <a:pt x="733" y="80"/>
                </a:lnTo>
                <a:lnTo>
                  <a:pt x="739" y="81"/>
                </a:lnTo>
                <a:lnTo>
                  <a:pt x="745" y="82"/>
                </a:lnTo>
                <a:lnTo>
                  <a:pt x="750" y="84"/>
                </a:lnTo>
                <a:lnTo>
                  <a:pt x="754" y="86"/>
                </a:lnTo>
                <a:lnTo>
                  <a:pt x="758" y="90"/>
                </a:lnTo>
                <a:lnTo>
                  <a:pt x="761" y="94"/>
                </a:lnTo>
                <a:lnTo>
                  <a:pt x="765" y="100"/>
                </a:lnTo>
                <a:lnTo>
                  <a:pt x="766" y="106"/>
                </a:lnTo>
                <a:lnTo>
                  <a:pt x="746" y="106"/>
                </a:lnTo>
                <a:lnTo>
                  <a:pt x="744" y="101"/>
                </a:lnTo>
                <a:lnTo>
                  <a:pt x="741" y="99"/>
                </a:lnTo>
                <a:lnTo>
                  <a:pt x="737" y="96"/>
                </a:lnTo>
                <a:lnTo>
                  <a:pt x="733" y="96"/>
                </a:lnTo>
                <a:lnTo>
                  <a:pt x="730" y="96"/>
                </a:lnTo>
                <a:lnTo>
                  <a:pt x="726" y="99"/>
                </a:lnTo>
                <a:lnTo>
                  <a:pt x="724" y="101"/>
                </a:lnTo>
                <a:lnTo>
                  <a:pt x="720" y="103"/>
                </a:lnTo>
                <a:lnTo>
                  <a:pt x="719" y="106"/>
                </a:lnTo>
                <a:lnTo>
                  <a:pt x="717" y="110"/>
                </a:lnTo>
                <a:lnTo>
                  <a:pt x="716" y="120"/>
                </a:lnTo>
                <a:lnTo>
                  <a:pt x="717" y="129"/>
                </a:lnTo>
                <a:lnTo>
                  <a:pt x="719" y="132"/>
                </a:lnTo>
                <a:lnTo>
                  <a:pt x="721" y="136"/>
                </a:lnTo>
                <a:lnTo>
                  <a:pt x="724" y="138"/>
                </a:lnTo>
                <a:lnTo>
                  <a:pt x="727" y="140"/>
                </a:lnTo>
                <a:lnTo>
                  <a:pt x="730" y="143"/>
                </a:lnTo>
                <a:lnTo>
                  <a:pt x="734" y="143"/>
                </a:lnTo>
                <a:lnTo>
                  <a:pt x="741" y="142"/>
                </a:lnTo>
                <a:lnTo>
                  <a:pt x="747" y="139"/>
                </a:lnTo>
                <a:lnTo>
                  <a:pt x="747" y="129"/>
                </a:lnTo>
                <a:lnTo>
                  <a:pt x="734" y="129"/>
                </a:lnTo>
                <a:lnTo>
                  <a:pt x="734" y="115"/>
                </a:lnTo>
                <a:lnTo>
                  <a:pt x="766" y="115"/>
                </a:lnTo>
                <a:lnTo>
                  <a:pt x="766" y="148"/>
                </a:lnTo>
                <a:lnTo>
                  <a:pt x="758" y="153"/>
                </a:lnTo>
                <a:lnTo>
                  <a:pt x="751" y="156"/>
                </a:lnTo>
                <a:lnTo>
                  <a:pt x="742" y="158"/>
                </a:lnTo>
                <a:lnTo>
                  <a:pt x="736" y="159"/>
                </a:lnTo>
                <a:lnTo>
                  <a:pt x="727" y="158"/>
                </a:lnTo>
                <a:lnTo>
                  <a:pt x="719" y="156"/>
                </a:lnTo>
                <a:lnTo>
                  <a:pt x="712" y="153"/>
                </a:lnTo>
                <a:lnTo>
                  <a:pt x="707" y="149"/>
                </a:lnTo>
                <a:lnTo>
                  <a:pt x="702" y="143"/>
                </a:lnTo>
                <a:lnTo>
                  <a:pt x="699" y="136"/>
                </a:lnTo>
                <a:lnTo>
                  <a:pt x="697" y="128"/>
                </a:lnTo>
                <a:lnTo>
                  <a:pt x="696" y="120"/>
                </a:lnTo>
                <a:close/>
                <a:moveTo>
                  <a:pt x="644" y="130"/>
                </a:moveTo>
                <a:lnTo>
                  <a:pt x="654" y="102"/>
                </a:lnTo>
                <a:lnTo>
                  <a:pt x="663" y="130"/>
                </a:lnTo>
                <a:lnTo>
                  <a:pt x="644" y="130"/>
                </a:lnTo>
                <a:close/>
                <a:moveTo>
                  <a:pt x="615" y="156"/>
                </a:moveTo>
                <a:lnTo>
                  <a:pt x="636" y="156"/>
                </a:lnTo>
                <a:lnTo>
                  <a:pt x="639" y="145"/>
                </a:lnTo>
                <a:lnTo>
                  <a:pt x="669" y="145"/>
                </a:lnTo>
                <a:lnTo>
                  <a:pt x="673" y="156"/>
                </a:lnTo>
                <a:lnTo>
                  <a:pt x="693" y="156"/>
                </a:lnTo>
                <a:lnTo>
                  <a:pt x="664" y="82"/>
                </a:lnTo>
                <a:lnTo>
                  <a:pt x="643" y="82"/>
                </a:lnTo>
                <a:lnTo>
                  <a:pt x="615" y="156"/>
                </a:lnTo>
                <a:close/>
                <a:moveTo>
                  <a:pt x="541" y="156"/>
                </a:moveTo>
                <a:lnTo>
                  <a:pt x="559" y="156"/>
                </a:lnTo>
                <a:lnTo>
                  <a:pt x="559" y="112"/>
                </a:lnTo>
                <a:lnTo>
                  <a:pt x="585" y="156"/>
                </a:lnTo>
                <a:lnTo>
                  <a:pt x="606" y="156"/>
                </a:lnTo>
                <a:lnTo>
                  <a:pt x="606" y="82"/>
                </a:lnTo>
                <a:lnTo>
                  <a:pt x="587" y="82"/>
                </a:lnTo>
                <a:lnTo>
                  <a:pt x="587" y="126"/>
                </a:lnTo>
                <a:lnTo>
                  <a:pt x="561" y="82"/>
                </a:lnTo>
                <a:lnTo>
                  <a:pt x="541" y="82"/>
                </a:lnTo>
                <a:lnTo>
                  <a:pt x="541" y="156"/>
                </a:lnTo>
                <a:close/>
                <a:moveTo>
                  <a:pt x="457" y="127"/>
                </a:moveTo>
                <a:lnTo>
                  <a:pt x="457" y="117"/>
                </a:lnTo>
                <a:lnTo>
                  <a:pt x="486" y="117"/>
                </a:lnTo>
                <a:lnTo>
                  <a:pt x="486" y="87"/>
                </a:lnTo>
                <a:lnTo>
                  <a:pt x="498" y="87"/>
                </a:lnTo>
                <a:lnTo>
                  <a:pt x="498" y="117"/>
                </a:lnTo>
                <a:lnTo>
                  <a:pt x="527" y="117"/>
                </a:lnTo>
                <a:lnTo>
                  <a:pt x="527" y="127"/>
                </a:lnTo>
                <a:lnTo>
                  <a:pt x="498" y="127"/>
                </a:lnTo>
                <a:lnTo>
                  <a:pt x="498" y="156"/>
                </a:lnTo>
                <a:lnTo>
                  <a:pt x="486" y="156"/>
                </a:lnTo>
                <a:lnTo>
                  <a:pt x="486" y="127"/>
                </a:lnTo>
                <a:lnTo>
                  <a:pt x="457" y="127"/>
                </a:lnTo>
                <a:close/>
                <a:moveTo>
                  <a:pt x="392" y="156"/>
                </a:moveTo>
                <a:lnTo>
                  <a:pt x="448" y="156"/>
                </a:lnTo>
                <a:lnTo>
                  <a:pt x="448" y="139"/>
                </a:lnTo>
                <a:lnTo>
                  <a:pt x="411" y="139"/>
                </a:lnTo>
                <a:lnTo>
                  <a:pt x="411" y="127"/>
                </a:lnTo>
                <a:lnTo>
                  <a:pt x="442" y="127"/>
                </a:lnTo>
                <a:lnTo>
                  <a:pt x="442" y="111"/>
                </a:lnTo>
                <a:lnTo>
                  <a:pt x="411" y="111"/>
                </a:lnTo>
                <a:lnTo>
                  <a:pt x="411" y="99"/>
                </a:lnTo>
                <a:lnTo>
                  <a:pt x="446" y="99"/>
                </a:lnTo>
                <a:lnTo>
                  <a:pt x="446" y="82"/>
                </a:lnTo>
                <a:lnTo>
                  <a:pt x="392" y="82"/>
                </a:lnTo>
                <a:lnTo>
                  <a:pt x="392" y="156"/>
                </a:lnTo>
                <a:close/>
                <a:moveTo>
                  <a:pt x="309" y="156"/>
                </a:moveTo>
                <a:lnTo>
                  <a:pt x="328" y="156"/>
                </a:lnTo>
                <a:lnTo>
                  <a:pt x="328" y="112"/>
                </a:lnTo>
                <a:lnTo>
                  <a:pt x="354" y="156"/>
                </a:lnTo>
                <a:lnTo>
                  <a:pt x="374" y="156"/>
                </a:lnTo>
                <a:lnTo>
                  <a:pt x="374" y="82"/>
                </a:lnTo>
                <a:lnTo>
                  <a:pt x="356" y="82"/>
                </a:lnTo>
                <a:lnTo>
                  <a:pt x="356" y="126"/>
                </a:lnTo>
                <a:lnTo>
                  <a:pt x="329" y="82"/>
                </a:lnTo>
                <a:lnTo>
                  <a:pt x="309" y="82"/>
                </a:lnTo>
                <a:lnTo>
                  <a:pt x="309" y="156"/>
                </a:lnTo>
                <a:close/>
                <a:moveTo>
                  <a:pt x="226" y="156"/>
                </a:moveTo>
                <a:lnTo>
                  <a:pt x="246" y="156"/>
                </a:lnTo>
                <a:lnTo>
                  <a:pt x="246" y="128"/>
                </a:lnTo>
                <a:lnTo>
                  <a:pt x="272" y="128"/>
                </a:lnTo>
                <a:lnTo>
                  <a:pt x="272" y="156"/>
                </a:lnTo>
                <a:lnTo>
                  <a:pt x="292" y="156"/>
                </a:lnTo>
                <a:lnTo>
                  <a:pt x="292" y="82"/>
                </a:lnTo>
                <a:lnTo>
                  <a:pt x="272" y="82"/>
                </a:lnTo>
                <a:lnTo>
                  <a:pt x="272" y="110"/>
                </a:lnTo>
                <a:lnTo>
                  <a:pt x="246" y="110"/>
                </a:lnTo>
                <a:lnTo>
                  <a:pt x="246" y="82"/>
                </a:lnTo>
                <a:lnTo>
                  <a:pt x="226" y="82"/>
                </a:lnTo>
                <a:lnTo>
                  <a:pt x="226" y="156"/>
                </a:lnTo>
                <a:close/>
                <a:moveTo>
                  <a:pt x="155" y="156"/>
                </a:moveTo>
                <a:lnTo>
                  <a:pt x="211" y="156"/>
                </a:lnTo>
                <a:lnTo>
                  <a:pt x="211" y="139"/>
                </a:lnTo>
                <a:lnTo>
                  <a:pt x="174" y="139"/>
                </a:lnTo>
                <a:lnTo>
                  <a:pt x="174" y="127"/>
                </a:lnTo>
                <a:lnTo>
                  <a:pt x="205" y="127"/>
                </a:lnTo>
                <a:lnTo>
                  <a:pt x="205" y="111"/>
                </a:lnTo>
                <a:lnTo>
                  <a:pt x="174" y="111"/>
                </a:lnTo>
                <a:lnTo>
                  <a:pt x="174" y="99"/>
                </a:lnTo>
                <a:lnTo>
                  <a:pt x="209" y="99"/>
                </a:lnTo>
                <a:lnTo>
                  <a:pt x="209" y="82"/>
                </a:lnTo>
                <a:lnTo>
                  <a:pt x="155" y="82"/>
                </a:lnTo>
                <a:lnTo>
                  <a:pt x="155" y="156"/>
                </a:lnTo>
                <a:close/>
                <a:moveTo>
                  <a:pt x="74" y="126"/>
                </a:moveTo>
                <a:lnTo>
                  <a:pt x="74" y="126"/>
                </a:lnTo>
                <a:lnTo>
                  <a:pt x="74" y="134"/>
                </a:lnTo>
                <a:lnTo>
                  <a:pt x="76" y="142"/>
                </a:lnTo>
                <a:lnTo>
                  <a:pt x="79" y="147"/>
                </a:lnTo>
                <a:lnTo>
                  <a:pt x="83" y="151"/>
                </a:lnTo>
                <a:lnTo>
                  <a:pt x="89" y="155"/>
                </a:lnTo>
                <a:lnTo>
                  <a:pt x="94" y="157"/>
                </a:lnTo>
                <a:lnTo>
                  <a:pt x="99" y="158"/>
                </a:lnTo>
                <a:lnTo>
                  <a:pt x="107" y="159"/>
                </a:lnTo>
                <a:lnTo>
                  <a:pt x="113" y="158"/>
                </a:lnTo>
                <a:lnTo>
                  <a:pt x="118" y="157"/>
                </a:lnTo>
                <a:lnTo>
                  <a:pt x="124" y="155"/>
                </a:lnTo>
                <a:lnTo>
                  <a:pt x="129" y="151"/>
                </a:lnTo>
                <a:lnTo>
                  <a:pt x="133" y="147"/>
                </a:lnTo>
                <a:lnTo>
                  <a:pt x="136" y="142"/>
                </a:lnTo>
                <a:lnTo>
                  <a:pt x="138" y="134"/>
                </a:lnTo>
                <a:lnTo>
                  <a:pt x="138" y="126"/>
                </a:lnTo>
                <a:lnTo>
                  <a:pt x="138" y="82"/>
                </a:lnTo>
                <a:lnTo>
                  <a:pt x="118" y="82"/>
                </a:lnTo>
                <a:lnTo>
                  <a:pt x="118" y="129"/>
                </a:lnTo>
                <a:lnTo>
                  <a:pt x="117" y="134"/>
                </a:lnTo>
                <a:lnTo>
                  <a:pt x="115" y="138"/>
                </a:lnTo>
                <a:lnTo>
                  <a:pt x="112" y="142"/>
                </a:lnTo>
                <a:lnTo>
                  <a:pt x="107" y="142"/>
                </a:lnTo>
                <a:lnTo>
                  <a:pt x="100" y="142"/>
                </a:lnTo>
                <a:lnTo>
                  <a:pt x="97" y="138"/>
                </a:lnTo>
                <a:lnTo>
                  <a:pt x="94" y="134"/>
                </a:lnTo>
                <a:lnTo>
                  <a:pt x="94" y="129"/>
                </a:lnTo>
                <a:lnTo>
                  <a:pt x="94" y="82"/>
                </a:lnTo>
                <a:lnTo>
                  <a:pt x="74" y="82"/>
                </a:lnTo>
                <a:lnTo>
                  <a:pt x="74" y="126"/>
                </a:lnTo>
                <a:close/>
                <a:moveTo>
                  <a:pt x="0" y="156"/>
                </a:moveTo>
                <a:lnTo>
                  <a:pt x="20" y="156"/>
                </a:lnTo>
                <a:lnTo>
                  <a:pt x="20" y="135"/>
                </a:lnTo>
                <a:lnTo>
                  <a:pt x="26" y="127"/>
                </a:lnTo>
                <a:lnTo>
                  <a:pt x="43" y="156"/>
                </a:lnTo>
                <a:lnTo>
                  <a:pt x="66" y="156"/>
                </a:lnTo>
                <a:lnTo>
                  <a:pt x="40" y="112"/>
                </a:lnTo>
                <a:lnTo>
                  <a:pt x="63" y="82"/>
                </a:lnTo>
                <a:lnTo>
                  <a:pt x="40" y="82"/>
                </a:lnTo>
                <a:lnTo>
                  <a:pt x="20" y="109"/>
                </a:lnTo>
                <a:lnTo>
                  <a:pt x="20" y="82"/>
                </a:lnTo>
                <a:lnTo>
                  <a:pt x="0" y="82"/>
                </a:lnTo>
                <a:lnTo>
                  <a:pt x="0" y="1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 name="Slide Number Placeholder 3">
            <a:extLst>
              <a:ext uri="{FF2B5EF4-FFF2-40B4-BE49-F238E27FC236}">
                <a16:creationId xmlns:a16="http://schemas.microsoft.com/office/drawing/2014/main" id="{AF71157D-B3BE-A77D-8ECD-08DE1CA608C3}"/>
              </a:ext>
            </a:extLst>
          </p:cNvPr>
          <p:cNvSpPr>
            <a:spLocks noGrp="1"/>
          </p:cNvSpPr>
          <p:nvPr>
            <p:ph type="sldNum" sz="quarter" idx="10"/>
          </p:nvPr>
        </p:nvSpPr>
        <p:spPr/>
        <p:txBody>
          <a:bodyPr/>
          <a:lstStyle>
            <a:lvl1pPr algn="r">
              <a:defRPr sz="1000">
                <a:solidFill>
                  <a:schemeClr val="bg1"/>
                </a:solidFill>
              </a:defRPr>
            </a:lvl1pPr>
          </a:lstStyle>
          <a:p>
            <a:pPr>
              <a:defRPr/>
            </a:pPr>
            <a:fld id="{57BAE925-78CD-411A-B582-FD469DDC37C7}" type="slidenum">
              <a:rPr lang="en-GB"/>
              <a:pPr>
                <a:defRPr/>
              </a:pPr>
              <a:t>‹#›</a:t>
            </a:fld>
            <a:endParaRPr lang="en-GB" dirty="0"/>
          </a:p>
        </p:txBody>
      </p:sp>
    </p:spTree>
    <p:extLst>
      <p:ext uri="{BB962C8B-B14F-4D97-AF65-F5344CB8AC3E}">
        <p14:creationId xmlns:p14="http://schemas.microsoft.com/office/powerpoint/2010/main" val="3281328504"/>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4_panel_timeline_Text+imag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ADF325-F7E0-4C9A-E136-9E69FE873BBB}"/>
              </a:ext>
            </a:extLst>
          </p:cNvPr>
          <p:cNvSpPr/>
          <p:nvPr/>
        </p:nvSpPr>
        <p:spPr>
          <a:xfrm>
            <a:off x="0" y="1630363"/>
            <a:ext cx="12192000" cy="5221287"/>
          </a:xfrm>
          <a:prstGeom prst="rect">
            <a:avLst/>
          </a:prstGeom>
          <a:solidFill>
            <a:srgbClr val="F6F5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pic>
        <p:nvPicPr>
          <p:cNvPr id="3" name="Picture 4">
            <a:extLst>
              <a:ext uri="{FF2B5EF4-FFF2-40B4-BE49-F238E27FC236}">
                <a16:creationId xmlns:a16="http://schemas.microsoft.com/office/drawing/2014/main" id="{DFDD1ED3-24F8-2953-FF73-FFFA8F99E2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21850" y="563563"/>
            <a:ext cx="1909763" cy="38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nip Diagonal Corner Rectangle 33" hidden="1">
            <a:extLst>
              <a:ext uri="{FF2B5EF4-FFF2-40B4-BE49-F238E27FC236}">
                <a16:creationId xmlns:a16="http://schemas.microsoft.com/office/drawing/2014/main" id="{A16E4A86-98A0-B546-649E-4D5B4C246356}"/>
              </a:ext>
            </a:extLst>
          </p:cNvPr>
          <p:cNvSpPr/>
          <p:nvPr/>
        </p:nvSpPr>
        <p:spPr>
          <a:xfrm>
            <a:off x="9359900" y="2008188"/>
            <a:ext cx="2279650" cy="1422400"/>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a:lstStyle/>
          <a:p>
            <a:pPr algn="ctr" defTabSz="914377" eaLnBrk="1" fontAlgn="auto" hangingPunct="1">
              <a:spcBef>
                <a:spcPts val="0"/>
              </a:spcBef>
              <a:spcAft>
                <a:spcPts val="0"/>
              </a:spcAft>
              <a:defRPr/>
            </a:pPr>
            <a:endParaRPr lang="en-CA" sz="1400" dirty="0">
              <a:solidFill>
                <a:srgbClr val="000000"/>
              </a:solidFill>
            </a:endParaRPr>
          </a:p>
        </p:txBody>
      </p:sp>
      <p:sp>
        <p:nvSpPr>
          <p:cNvPr id="5" name="Snip Diagonal Corner Rectangle 32" hidden="1">
            <a:extLst>
              <a:ext uri="{FF2B5EF4-FFF2-40B4-BE49-F238E27FC236}">
                <a16:creationId xmlns:a16="http://schemas.microsoft.com/office/drawing/2014/main" id="{E1885507-485B-4954-4747-5B011FA564CD}"/>
              </a:ext>
            </a:extLst>
          </p:cNvPr>
          <p:cNvSpPr/>
          <p:nvPr/>
        </p:nvSpPr>
        <p:spPr>
          <a:xfrm>
            <a:off x="3500438" y="1998663"/>
            <a:ext cx="2279650" cy="1430337"/>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a:lstStyle/>
          <a:p>
            <a:pPr algn="ctr" defTabSz="914377" eaLnBrk="1" fontAlgn="auto" hangingPunct="1">
              <a:spcBef>
                <a:spcPts val="0"/>
              </a:spcBef>
              <a:spcAft>
                <a:spcPts val="0"/>
              </a:spcAft>
              <a:defRPr/>
            </a:pPr>
            <a:endParaRPr lang="en-CA" sz="1400" dirty="0">
              <a:solidFill>
                <a:srgbClr val="000000"/>
              </a:solidFill>
            </a:endParaRPr>
          </a:p>
        </p:txBody>
      </p:sp>
      <p:sp>
        <p:nvSpPr>
          <p:cNvPr id="6" name="Snip Diagonal Corner Rectangle 32" hidden="1">
            <a:extLst>
              <a:ext uri="{FF2B5EF4-FFF2-40B4-BE49-F238E27FC236}">
                <a16:creationId xmlns:a16="http://schemas.microsoft.com/office/drawing/2014/main" id="{37538509-AF6B-A897-B3F7-8741E6A8FC3F}"/>
              </a:ext>
            </a:extLst>
          </p:cNvPr>
          <p:cNvSpPr/>
          <p:nvPr/>
        </p:nvSpPr>
        <p:spPr>
          <a:xfrm>
            <a:off x="6430963" y="1998663"/>
            <a:ext cx="2278062" cy="1430337"/>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a:lstStyle/>
          <a:p>
            <a:pPr algn="ctr" defTabSz="914377" eaLnBrk="1" fontAlgn="auto" hangingPunct="1">
              <a:spcBef>
                <a:spcPts val="0"/>
              </a:spcBef>
              <a:spcAft>
                <a:spcPts val="0"/>
              </a:spcAft>
              <a:defRPr/>
            </a:pPr>
            <a:endParaRPr lang="en-CA" sz="1400" dirty="0">
              <a:solidFill>
                <a:srgbClr val="000000"/>
              </a:solidFill>
            </a:endParaRPr>
          </a:p>
        </p:txBody>
      </p:sp>
      <p:cxnSp>
        <p:nvCxnSpPr>
          <p:cNvPr id="7" name="Straight Connector 6">
            <a:extLst>
              <a:ext uri="{FF2B5EF4-FFF2-40B4-BE49-F238E27FC236}">
                <a16:creationId xmlns:a16="http://schemas.microsoft.com/office/drawing/2014/main" id="{3A88849A-5A47-D39F-1F1D-97DF47641D31}"/>
              </a:ext>
            </a:extLst>
          </p:cNvPr>
          <p:cNvCxnSpPr/>
          <p:nvPr/>
        </p:nvCxnSpPr>
        <p:spPr>
          <a:xfrm>
            <a:off x="0" y="3779838"/>
            <a:ext cx="12192000" cy="0"/>
          </a:xfrm>
          <a:prstGeom prst="line">
            <a:avLst/>
          </a:prstGeom>
          <a:ln w="19050" cap="sq">
            <a:solidFill>
              <a:schemeClr val="accent1"/>
            </a:solidFill>
          </a:ln>
        </p:spPr>
        <p:style>
          <a:lnRef idx="1">
            <a:schemeClr val="dk1"/>
          </a:lnRef>
          <a:fillRef idx="0">
            <a:schemeClr val="dk1"/>
          </a:fillRef>
          <a:effectRef idx="0">
            <a:schemeClr val="dk1"/>
          </a:effectRef>
          <a:fontRef idx="minor">
            <a:schemeClr val="tx1"/>
          </a:fontRef>
        </p:style>
      </p:cxnSp>
      <p:sp>
        <p:nvSpPr>
          <p:cNvPr id="8" name="Isosceles Triangle 7">
            <a:extLst>
              <a:ext uri="{FF2B5EF4-FFF2-40B4-BE49-F238E27FC236}">
                <a16:creationId xmlns:a16="http://schemas.microsoft.com/office/drawing/2014/main" id="{8847856B-7E9B-B7E0-1F7C-D87DF1ACD322}"/>
              </a:ext>
            </a:extLst>
          </p:cNvPr>
          <p:cNvSpPr/>
          <p:nvPr/>
        </p:nvSpPr>
        <p:spPr>
          <a:xfrm flipH="1">
            <a:off x="1614488" y="3587750"/>
            <a:ext cx="192087" cy="192088"/>
          </a:xfrm>
          <a:prstGeom prst="triangle">
            <a:avLst/>
          </a:prstGeom>
          <a:solidFill>
            <a:schemeClr val="accent1"/>
          </a:solidFill>
          <a:ln>
            <a:noFill/>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CA" sz="2400" dirty="0">
              <a:solidFill>
                <a:srgbClr val="000000"/>
              </a:solidFill>
            </a:endParaRPr>
          </a:p>
        </p:txBody>
      </p:sp>
      <p:sp>
        <p:nvSpPr>
          <p:cNvPr id="9" name="Isosceles Triangle 8">
            <a:extLst>
              <a:ext uri="{FF2B5EF4-FFF2-40B4-BE49-F238E27FC236}">
                <a16:creationId xmlns:a16="http://schemas.microsoft.com/office/drawing/2014/main" id="{5872BD18-2E94-13EE-B0C9-791B346122D9}"/>
              </a:ext>
            </a:extLst>
          </p:cNvPr>
          <p:cNvSpPr/>
          <p:nvPr/>
        </p:nvSpPr>
        <p:spPr>
          <a:xfrm flipH="1">
            <a:off x="4545013" y="3587750"/>
            <a:ext cx="192087" cy="192088"/>
          </a:xfrm>
          <a:prstGeom prst="triangle">
            <a:avLst/>
          </a:prstGeom>
          <a:solidFill>
            <a:schemeClr val="accent1"/>
          </a:solidFill>
          <a:ln>
            <a:noFill/>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CA" sz="2400" dirty="0">
              <a:solidFill>
                <a:srgbClr val="000000"/>
              </a:solidFill>
            </a:endParaRPr>
          </a:p>
        </p:txBody>
      </p:sp>
      <p:sp>
        <p:nvSpPr>
          <p:cNvPr id="16" name="Isosceles Triangle 15">
            <a:extLst>
              <a:ext uri="{FF2B5EF4-FFF2-40B4-BE49-F238E27FC236}">
                <a16:creationId xmlns:a16="http://schemas.microsoft.com/office/drawing/2014/main" id="{7E7B4149-DB45-1A13-9371-1BE28DE2452A}"/>
              </a:ext>
            </a:extLst>
          </p:cNvPr>
          <p:cNvSpPr/>
          <p:nvPr/>
        </p:nvSpPr>
        <p:spPr>
          <a:xfrm flipH="1">
            <a:off x="7473950" y="3587750"/>
            <a:ext cx="192088" cy="192088"/>
          </a:xfrm>
          <a:prstGeom prst="triangle">
            <a:avLst/>
          </a:prstGeom>
          <a:solidFill>
            <a:schemeClr val="accent1"/>
          </a:solidFill>
          <a:ln>
            <a:noFill/>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CA" sz="2400" dirty="0">
              <a:solidFill>
                <a:srgbClr val="000000"/>
              </a:solidFill>
            </a:endParaRPr>
          </a:p>
        </p:txBody>
      </p:sp>
      <p:sp>
        <p:nvSpPr>
          <p:cNvPr id="17" name="Isosceles Triangle 16">
            <a:extLst>
              <a:ext uri="{FF2B5EF4-FFF2-40B4-BE49-F238E27FC236}">
                <a16:creationId xmlns:a16="http://schemas.microsoft.com/office/drawing/2014/main" id="{EC1EA82B-D09D-2D2C-C628-886244AEF8AE}"/>
              </a:ext>
            </a:extLst>
          </p:cNvPr>
          <p:cNvSpPr/>
          <p:nvPr/>
        </p:nvSpPr>
        <p:spPr>
          <a:xfrm flipH="1">
            <a:off x="10402888" y="3594100"/>
            <a:ext cx="192087" cy="192088"/>
          </a:xfrm>
          <a:prstGeom prst="triangle">
            <a:avLst/>
          </a:prstGeom>
          <a:solidFill>
            <a:schemeClr val="accent1"/>
          </a:solidFill>
          <a:ln>
            <a:noFill/>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CA" sz="2400" dirty="0">
              <a:solidFill>
                <a:srgbClr val="000000"/>
              </a:solidFill>
            </a:endParaRPr>
          </a:p>
        </p:txBody>
      </p:sp>
      <p:sp>
        <p:nvSpPr>
          <p:cNvPr id="11" name="Text Placeholder 10"/>
          <p:cNvSpPr>
            <a:spLocks noGrp="1"/>
          </p:cNvSpPr>
          <p:nvPr>
            <p:ph type="body" sz="quarter" idx="30"/>
          </p:nvPr>
        </p:nvSpPr>
        <p:spPr>
          <a:xfrm>
            <a:off x="564252" y="4007692"/>
            <a:ext cx="2520000" cy="576000"/>
          </a:xfrm>
        </p:spPr>
        <p:txBody>
          <a:bodyPr>
            <a:noAutofit/>
          </a:bodyPr>
          <a:lstStyle>
            <a:lvl1pPr marL="0" indent="0" algn="ctr">
              <a:lnSpc>
                <a:spcPct val="100000"/>
              </a:lnSpc>
              <a:spcBef>
                <a:spcPts val="0"/>
              </a:spcBef>
              <a:spcAft>
                <a:spcPts val="0"/>
              </a:spcAft>
              <a:buNone/>
              <a:defRPr sz="1800" b="1" baseline="0">
                <a:solidFill>
                  <a:srgbClr val="000000"/>
                </a:solidFill>
                <a:latin typeface="+mn-lt"/>
              </a:defRPr>
            </a:lvl1pPr>
          </a:lstStyle>
          <a:p>
            <a:pPr lvl="0"/>
            <a:r>
              <a:rPr lang="en-US" noProof="0"/>
              <a:t>Click to edit Master text styles</a:t>
            </a:r>
          </a:p>
        </p:txBody>
      </p:sp>
      <p:sp>
        <p:nvSpPr>
          <p:cNvPr id="13" name="Text Placeholder 10"/>
          <p:cNvSpPr>
            <a:spLocks noGrp="1"/>
          </p:cNvSpPr>
          <p:nvPr>
            <p:ph type="body" sz="quarter" idx="36"/>
          </p:nvPr>
        </p:nvSpPr>
        <p:spPr>
          <a:xfrm>
            <a:off x="3418792" y="4007692"/>
            <a:ext cx="2520000" cy="576000"/>
          </a:xfrm>
        </p:spPr>
        <p:txBody>
          <a:bodyPr>
            <a:noAutofit/>
          </a:bodyPr>
          <a:lstStyle>
            <a:lvl1pPr marL="0" indent="0" algn="ctr">
              <a:lnSpc>
                <a:spcPct val="100000"/>
              </a:lnSpc>
              <a:spcBef>
                <a:spcPts val="0"/>
              </a:spcBef>
              <a:spcAft>
                <a:spcPts val="0"/>
              </a:spcAft>
              <a:buNone/>
              <a:defRPr sz="1800" b="1" baseline="0">
                <a:solidFill>
                  <a:srgbClr val="000000"/>
                </a:solidFill>
                <a:latin typeface="+mn-lt"/>
              </a:defRPr>
            </a:lvl1pPr>
          </a:lstStyle>
          <a:p>
            <a:pPr lvl="0"/>
            <a:r>
              <a:rPr lang="en-US" noProof="0"/>
              <a:t>Click to edit Master text styles</a:t>
            </a:r>
          </a:p>
        </p:txBody>
      </p:sp>
      <p:sp>
        <p:nvSpPr>
          <p:cNvPr id="15" name="Text Placeholder 10"/>
          <p:cNvSpPr>
            <a:spLocks noGrp="1"/>
          </p:cNvSpPr>
          <p:nvPr>
            <p:ph type="body" sz="quarter" idx="39"/>
          </p:nvPr>
        </p:nvSpPr>
        <p:spPr>
          <a:xfrm>
            <a:off x="6273332" y="4007692"/>
            <a:ext cx="2520000" cy="576000"/>
          </a:xfrm>
        </p:spPr>
        <p:txBody>
          <a:bodyPr>
            <a:noAutofit/>
          </a:bodyPr>
          <a:lstStyle>
            <a:lvl1pPr marL="0" indent="0" algn="ctr">
              <a:lnSpc>
                <a:spcPct val="100000"/>
              </a:lnSpc>
              <a:spcBef>
                <a:spcPts val="0"/>
              </a:spcBef>
              <a:spcAft>
                <a:spcPts val="0"/>
              </a:spcAft>
              <a:buNone/>
              <a:defRPr sz="1800" b="1" baseline="0">
                <a:solidFill>
                  <a:srgbClr val="000000"/>
                </a:solidFill>
                <a:latin typeface="+mn-lt"/>
              </a:defRPr>
            </a:lvl1pPr>
          </a:lstStyle>
          <a:p>
            <a:pPr lvl="0"/>
            <a:r>
              <a:rPr lang="en-US" noProof="0"/>
              <a:t>Click to edit Master text styles</a:t>
            </a:r>
          </a:p>
        </p:txBody>
      </p:sp>
      <p:sp>
        <p:nvSpPr>
          <p:cNvPr id="23" name="Text Placeholder 10"/>
          <p:cNvSpPr>
            <a:spLocks noGrp="1"/>
          </p:cNvSpPr>
          <p:nvPr>
            <p:ph type="body" sz="quarter" idx="41"/>
          </p:nvPr>
        </p:nvSpPr>
        <p:spPr>
          <a:xfrm>
            <a:off x="9127873" y="4007692"/>
            <a:ext cx="2520000" cy="576000"/>
          </a:xfrm>
        </p:spPr>
        <p:txBody>
          <a:bodyPr>
            <a:noAutofit/>
          </a:bodyPr>
          <a:lstStyle>
            <a:lvl1pPr marL="0" indent="0" algn="ctr">
              <a:lnSpc>
                <a:spcPct val="100000"/>
              </a:lnSpc>
              <a:spcBef>
                <a:spcPts val="0"/>
              </a:spcBef>
              <a:spcAft>
                <a:spcPts val="0"/>
              </a:spcAft>
              <a:buNone/>
              <a:defRPr sz="1800" b="1" baseline="0">
                <a:solidFill>
                  <a:srgbClr val="000000"/>
                </a:solidFill>
                <a:latin typeface="+mn-lt"/>
              </a:defRPr>
            </a:lvl1pPr>
          </a:lstStyle>
          <a:p>
            <a:pPr lvl="0"/>
            <a:r>
              <a:rPr lang="en-US" noProof="0"/>
              <a:t>Click to edit Master text styles</a:t>
            </a:r>
          </a:p>
        </p:txBody>
      </p:sp>
      <p:sp>
        <p:nvSpPr>
          <p:cNvPr id="10" name="Picture Placeholder 5"/>
          <p:cNvSpPr>
            <a:spLocks noGrp="1"/>
          </p:cNvSpPr>
          <p:nvPr>
            <p:ph type="pic" sz="quarter" idx="13"/>
          </p:nvPr>
        </p:nvSpPr>
        <p:spPr>
          <a:xfrm>
            <a:off x="564252" y="1990958"/>
            <a:ext cx="2520000" cy="1440000"/>
          </a:xfrm>
          <a:prstGeom prst="rect">
            <a:avLst/>
          </a:prstGeom>
        </p:spPr>
        <p:txBody>
          <a:bodyPr tIns="180000" rtlCol="0">
            <a:normAutofit/>
          </a:bodyPr>
          <a:lstStyle>
            <a:lvl1pPr marL="0" indent="0" algn="ctr">
              <a:buNone/>
              <a:defRPr sz="1400">
                <a:solidFill>
                  <a:srgbClr val="000000"/>
                </a:solidFill>
              </a:defRPr>
            </a:lvl1pPr>
          </a:lstStyle>
          <a:p>
            <a:pPr lvl="0"/>
            <a:r>
              <a:rPr lang="en-US" noProof="0"/>
              <a:t>Click icon to add picture</a:t>
            </a:r>
            <a:endParaRPr lang="en-CA" noProof="0" dirty="0"/>
          </a:p>
        </p:txBody>
      </p:sp>
      <p:sp>
        <p:nvSpPr>
          <p:cNvPr id="12" name="Picture Placeholder 5"/>
          <p:cNvSpPr>
            <a:spLocks noGrp="1"/>
          </p:cNvSpPr>
          <p:nvPr>
            <p:ph type="pic" sz="quarter" idx="35"/>
          </p:nvPr>
        </p:nvSpPr>
        <p:spPr>
          <a:xfrm>
            <a:off x="3418792" y="1990958"/>
            <a:ext cx="2520000" cy="1440000"/>
          </a:xfrm>
          <a:prstGeom prst="rect">
            <a:avLst/>
          </a:prstGeom>
        </p:spPr>
        <p:txBody>
          <a:bodyPr tIns="180000" rtlCol="0">
            <a:normAutofit/>
          </a:bodyPr>
          <a:lstStyle>
            <a:lvl1pPr marL="0" indent="0" algn="ctr">
              <a:buNone/>
              <a:defRPr sz="1400">
                <a:solidFill>
                  <a:srgbClr val="000000"/>
                </a:solidFill>
              </a:defRPr>
            </a:lvl1pPr>
          </a:lstStyle>
          <a:p>
            <a:pPr lvl="0"/>
            <a:r>
              <a:rPr lang="en-US" noProof="0"/>
              <a:t>Click icon to add picture</a:t>
            </a:r>
            <a:endParaRPr lang="en-CA" noProof="0" dirty="0"/>
          </a:p>
        </p:txBody>
      </p:sp>
      <p:sp>
        <p:nvSpPr>
          <p:cNvPr id="14" name="Picture Placeholder 5"/>
          <p:cNvSpPr>
            <a:spLocks noGrp="1"/>
          </p:cNvSpPr>
          <p:nvPr>
            <p:ph type="pic" sz="quarter" idx="38"/>
          </p:nvPr>
        </p:nvSpPr>
        <p:spPr>
          <a:xfrm>
            <a:off x="9127873" y="1990958"/>
            <a:ext cx="2520000" cy="1440000"/>
          </a:xfrm>
          <a:prstGeom prst="rect">
            <a:avLst/>
          </a:prstGeom>
        </p:spPr>
        <p:txBody>
          <a:bodyPr tIns="180000" rtlCol="0">
            <a:normAutofit/>
          </a:bodyPr>
          <a:lstStyle>
            <a:lvl1pPr marL="0" indent="0" algn="ctr">
              <a:buNone/>
              <a:defRPr sz="1400">
                <a:solidFill>
                  <a:srgbClr val="000000"/>
                </a:solidFill>
              </a:defRPr>
            </a:lvl1pPr>
          </a:lstStyle>
          <a:p>
            <a:pPr lvl="0"/>
            <a:r>
              <a:rPr lang="en-US" noProof="0"/>
              <a:t>Click icon to add picture</a:t>
            </a:r>
            <a:endParaRPr lang="en-CA" noProof="0" dirty="0"/>
          </a:p>
        </p:txBody>
      </p:sp>
      <p:sp>
        <p:nvSpPr>
          <p:cNvPr id="21" name="Picture Placeholder 5"/>
          <p:cNvSpPr>
            <a:spLocks noGrp="1"/>
          </p:cNvSpPr>
          <p:nvPr>
            <p:ph type="pic" sz="quarter" idx="40"/>
          </p:nvPr>
        </p:nvSpPr>
        <p:spPr>
          <a:xfrm>
            <a:off x="6273332" y="1990958"/>
            <a:ext cx="2520000" cy="1440000"/>
          </a:xfrm>
          <a:prstGeom prst="rect">
            <a:avLst/>
          </a:prstGeom>
        </p:spPr>
        <p:txBody>
          <a:bodyPr tIns="180000" rtlCol="0">
            <a:normAutofit/>
          </a:bodyPr>
          <a:lstStyle>
            <a:lvl1pPr marL="0" indent="0" algn="ctr">
              <a:buNone/>
              <a:defRPr sz="1400">
                <a:solidFill>
                  <a:srgbClr val="000000"/>
                </a:solidFill>
              </a:defRPr>
            </a:lvl1pPr>
          </a:lstStyle>
          <a:p>
            <a:pPr lvl="0"/>
            <a:r>
              <a:rPr lang="en-US" noProof="0"/>
              <a:t>Click icon to add picture</a:t>
            </a:r>
            <a:endParaRPr lang="en-CA" noProof="0" dirty="0"/>
          </a:p>
        </p:txBody>
      </p:sp>
      <p:sp>
        <p:nvSpPr>
          <p:cNvPr id="25" name="Text Placeholder 10"/>
          <p:cNvSpPr>
            <a:spLocks noGrp="1"/>
          </p:cNvSpPr>
          <p:nvPr>
            <p:ph type="body" sz="quarter" idx="43"/>
          </p:nvPr>
        </p:nvSpPr>
        <p:spPr>
          <a:xfrm>
            <a:off x="564252" y="4622802"/>
            <a:ext cx="2520000" cy="1670192"/>
          </a:xfrm>
        </p:spPr>
        <p:txBody>
          <a:bodyPr>
            <a:noAutofit/>
          </a:bodyPr>
          <a:lstStyle>
            <a:lvl1pPr marL="0" indent="0" algn="ctr">
              <a:lnSpc>
                <a:spcPct val="100000"/>
              </a:lnSpc>
              <a:spcBef>
                <a:spcPts val="0"/>
              </a:spcBef>
              <a:spcAft>
                <a:spcPts val="600"/>
              </a:spcAft>
              <a:buNone/>
              <a:defRPr sz="1400" b="0" baseline="0">
                <a:solidFill>
                  <a:srgbClr val="000000"/>
                </a:solidFill>
                <a:latin typeface="+mn-lt"/>
              </a:defRPr>
            </a:lvl1pPr>
          </a:lstStyle>
          <a:p>
            <a:pPr lvl="0"/>
            <a:r>
              <a:rPr lang="en-US" noProof="0"/>
              <a:t>Click to edit Master text styles</a:t>
            </a:r>
          </a:p>
        </p:txBody>
      </p:sp>
      <p:sp>
        <p:nvSpPr>
          <p:cNvPr id="26" name="Text Placeholder 10"/>
          <p:cNvSpPr>
            <a:spLocks noGrp="1"/>
          </p:cNvSpPr>
          <p:nvPr>
            <p:ph type="body" sz="quarter" idx="44"/>
          </p:nvPr>
        </p:nvSpPr>
        <p:spPr>
          <a:xfrm>
            <a:off x="3418792" y="4622802"/>
            <a:ext cx="2520000" cy="1670192"/>
          </a:xfrm>
        </p:spPr>
        <p:txBody>
          <a:bodyPr>
            <a:noAutofit/>
          </a:bodyPr>
          <a:lstStyle>
            <a:lvl1pPr marL="0" indent="0" algn="ctr">
              <a:lnSpc>
                <a:spcPct val="100000"/>
              </a:lnSpc>
              <a:spcBef>
                <a:spcPts val="0"/>
              </a:spcBef>
              <a:spcAft>
                <a:spcPts val="600"/>
              </a:spcAft>
              <a:buNone/>
              <a:defRPr sz="1400" b="0" baseline="0">
                <a:solidFill>
                  <a:srgbClr val="000000"/>
                </a:solidFill>
                <a:latin typeface="+mn-lt"/>
              </a:defRPr>
            </a:lvl1pPr>
          </a:lstStyle>
          <a:p>
            <a:pPr lvl="0"/>
            <a:r>
              <a:rPr lang="en-US" noProof="0"/>
              <a:t>Click to edit Master text styles</a:t>
            </a:r>
          </a:p>
        </p:txBody>
      </p:sp>
      <p:sp>
        <p:nvSpPr>
          <p:cNvPr id="27" name="Text Placeholder 10"/>
          <p:cNvSpPr>
            <a:spLocks noGrp="1"/>
          </p:cNvSpPr>
          <p:nvPr>
            <p:ph type="body" sz="quarter" idx="45"/>
          </p:nvPr>
        </p:nvSpPr>
        <p:spPr>
          <a:xfrm>
            <a:off x="6273332" y="4622802"/>
            <a:ext cx="2520000" cy="1670192"/>
          </a:xfrm>
        </p:spPr>
        <p:txBody>
          <a:bodyPr>
            <a:noAutofit/>
          </a:bodyPr>
          <a:lstStyle>
            <a:lvl1pPr marL="0" indent="0" algn="ctr">
              <a:lnSpc>
                <a:spcPct val="100000"/>
              </a:lnSpc>
              <a:spcBef>
                <a:spcPts val="0"/>
              </a:spcBef>
              <a:spcAft>
                <a:spcPts val="600"/>
              </a:spcAft>
              <a:buNone/>
              <a:defRPr sz="1400" b="0" baseline="0">
                <a:solidFill>
                  <a:srgbClr val="000000"/>
                </a:solidFill>
                <a:latin typeface="+mn-lt"/>
              </a:defRPr>
            </a:lvl1pPr>
          </a:lstStyle>
          <a:p>
            <a:pPr lvl="0"/>
            <a:r>
              <a:rPr lang="en-US" noProof="0"/>
              <a:t>Click to edit Master text styles</a:t>
            </a:r>
          </a:p>
        </p:txBody>
      </p:sp>
      <p:sp>
        <p:nvSpPr>
          <p:cNvPr id="28" name="Text Placeholder 10"/>
          <p:cNvSpPr>
            <a:spLocks noGrp="1"/>
          </p:cNvSpPr>
          <p:nvPr>
            <p:ph type="body" sz="quarter" idx="46"/>
          </p:nvPr>
        </p:nvSpPr>
        <p:spPr>
          <a:xfrm>
            <a:off x="9127873" y="4622802"/>
            <a:ext cx="2520000" cy="1670192"/>
          </a:xfrm>
        </p:spPr>
        <p:txBody>
          <a:bodyPr>
            <a:noAutofit/>
          </a:bodyPr>
          <a:lstStyle>
            <a:lvl1pPr marL="0" indent="0" algn="ctr">
              <a:lnSpc>
                <a:spcPct val="100000"/>
              </a:lnSpc>
              <a:spcBef>
                <a:spcPts val="0"/>
              </a:spcBef>
              <a:spcAft>
                <a:spcPts val="600"/>
              </a:spcAft>
              <a:buNone/>
              <a:defRPr sz="1400" b="0" baseline="0">
                <a:solidFill>
                  <a:srgbClr val="000000"/>
                </a:solidFill>
                <a:latin typeface="+mn-lt"/>
              </a:defRPr>
            </a:lvl1pPr>
          </a:lstStyle>
          <a:p>
            <a:pPr lvl="0"/>
            <a:r>
              <a:rPr lang="en-US" noProof="0"/>
              <a:t>Click to edit Master text styles</a:t>
            </a:r>
          </a:p>
        </p:txBody>
      </p:sp>
      <p:sp>
        <p:nvSpPr>
          <p:cNvPr id="29" name="Text Placeholder 3"/>
          <p:cNvSpPr>
            <a:spLocks noGrp="1"/>
          </p:cNvSpPr>
          <p:nvPr>
            <p:ph type="body" sz="quarter" idx="10"/>
          </p:nvPr>
        </p:nvSpPr>
        <p:spPr>
          <a:xfrm>
            <a:off x="553321" y="550779"/>
            <a:ext cx="8314454" cy="864136"/>
          </a:xfrm>
          <a:prstGeom prst="rect">
            <a:avLst/>
          </a:prstGeom>
        </p:spPr>
        <p:txBody>
          <a:bodyPr/>
          <a:lstStyle>
            <a:lvl1pPr marL="0" indent="0">
              <a:lnSpc>
                <a:spcPct val="100000"/>
              </a:lnSpc>
              <a:spcBef>
                <a:spcPts val="0"/>
              </a:spcBef>
              <a:buNone/>
              <a:defRPr sz="2400" b="1" baseline="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18" name="Slide Number Placeholder 3">
            <a:extLst>
              <a:ext uri="{FF2B5EF4-FFF2-40B4-BE49-F238E27FC236}">
                <a16:creationId xmlns:a16="http://schemas.microsoft.com/office/drawing/2014/main" id="{A8C9F245-6C48-7A0A-8A68-1FD354DDEB51}"/>
              </a:ext>
            </a:extLst>
          </p:cNvPr>
          <p:cNvSpPr>
            <a:spLocks noGrp="1"/>
          </p:cNvSpPr>
          <p:nvPr>
            <p:ph type="sldNum" sz="quarter" idx="47"/>
          </p:nvPr>
        </p:nvSpPr>
        <p:spPr/>
        <p:txBody>
          <a:bodyPr/>
          <a:lstStyle>
            <a:lvl1pPr algn="r">
              <a:defRPr sz="1000">
                <a:solidFill>
                  <a:srgbClr val="000000"/>
                </a:solidFill>
              </a:defRPr>
            </a:lvl1pPr>
          </a:lstStyle>
          <a:p>
            <a:pPr>
              <a:defRPr/>
            </a:pPr>
            <a:fld id="{475F70D8-540D-4C26-8062-B2CE0EFB7350}" type="slidenum">
              <a:rPr lang="en-GB"/>
              <a:pPr>
                <a:defRPr/>
              </a:pPr>
              <a:t>‹#›</a:t>
            </a:fld>
            <a:endParaRPr lang="en-GB" dirty="0"/>
          </a:p>
        </p:txBody>
      </p:sp>
    </p:spTree>
    <p:extLst>
      <p:ext uri="{BB962C8B-B14F-4D97-AF65-F5344CB8AC3E}">
        <p14:creationId xmlns:p14="http://schemas.microsoft.com/office/powerpoint/2010/main" val="324519260"/>
      </p:ext>
    </p:extLst>
  </p:cSld>
  <p:clrMapOvr>
    <a:masterClrMapping/>
  </p:clrMapOvr>
  <p:transition spd="med" advClick="0">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3_panel_timeline_Text+imag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004305-2BC1-7291-8364-D17E2DFEE035}"/>
              </a:ext>
            </a:extLst>
          </p:cNvPr>
          <p:cNvSpPr/>
          <p:nvPr/>
        </p:nvSpPr>
        <p:spPr>
          <a:xfrm>
            <a:off x="0" y="1630363"/>
            <a:ext cx="12192000" cy="5221287"/>
          </a:xfrm>
          <a:prstGeom prst="rect">
            <a:avLst/>
          </a:prstGeom>
          <a:solidFill>
            <a:srgbClr val="F6F5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pic>
        <p:nvPicPr>
          <p:cNvPr id="3" name="Picture 4">
            <a:extLst>
              <a:ext uri="{FF2B5EF4-FFF2-40B4-BE49-F238E27FC236}">
                <a16:creationId xmlns:a16="http://schemas.microsoft.com/office/drawing/2014/main" id="{000665DA-EB6A-8EF6-2E4F-B6DD54032E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21850" y="563563"/>
            <a:ext cx="1909763" cy="38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nip Diagonal Corner Rectangle 33" hidden="1">
            <a:extLst>
              <a:ext uri="{FF2B5EF4-FFF2-40B4-BE49-F238E27FC236}">
                <a16:creationId xmlns:a16="http://schemas.microsoft.com/office/drawing/2014/main" id="{E2A403BC-2FF2-6181-4D3D-9DFEDE1E57D1}"/>
              </a:ext>
            </a:extLst>
          </p:cNvPr>
          <p:cNvSpPr/>
          <p:nvPr/>
        </p:nvSpPr>
        <p:spPr>
          <a:xfrm>
            <a:off x="9359900" y="2008188"/>
            <a:ext cx="2279650" cy="1422400"/>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a:lstStyle/>
          <a:p>
            <a:pPr algn="ctr" defTabSz="914377" eaLnBrk="1" fontAlgn="auto" hangingPunct="1">
              <a:spcBef>
                <a:spcPts val="0"/>
              </a:spcBef>
              <a:spcAft>
                <a:spcPts val="0"/>
              </a:spcAft>
              <a:defRPr/>
            </a:pPr>
            <a:endParaRPr lang="en-CA" sz="1400" dirty="0">
              <a:solidFill>
                <a:srgbClr val="000000"/>
              </a:solidFill>
            </a:endParaRPr>
          </a:p>
        </p:txBody>
      </p:sp>
      <p:sp>
        <p:nvSpPr>
          <p:cNvPr id="5" name="Snip Diagonal Corner Rectangle 32" hidden="1">
            <a:extLst>
              <a:ext uri="{FF2B5EF4-FFF2-40B4-BE49-F238E27FC236}">
                <a16:creationId xmlns:a16="http://schemas.microsoft.com/office/drawing/2014/main" id="{B8945EC6-C1E0-B41A-9147-FC10075C855F}"/>
              </a:ext>
            </a:extLst>
          </p:cNvPr>
          <p:cNvSpPr/>
          <p:nvPr/>
        </p:nvSpPr>
        <p:spPr>
          <a:xfrm>
            <a:off x="3500438" y="1998663"/>
            <a:ext cx="2279650" cy="1430337"/>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a:lstStyle/>
          <a:p>
            <a:pPr algn="ctr" defTabSz="914377" eaLnBrk="1" fontAlgn="auto" hangingPunct="1">
              <a:spcBef>
                <a:spcPts val="0"/>
              </a:spcBef>
              <a:spcAft>
                <a:spcPts val="0"/>
              </a:spcAft>
              <a:defRPr/>
            </a:pPr>
            <a:endParaRPr lang="en-CA" sz="1400" dirty="0">
              <a:solidFill>
                <a:srgbClr val="000000"/>
              </a:solidFill>
            </a:endParaRPr>
          </a:p>
        </p:txBody>
      </p:sp>
      <p:sp>
        <p:nvSpPr>
          <p:cNvPr id="6" name="Snip Diagonal Corner Rectangle 32" hidden="1">
            <a:extLst>
              <a:ext uri="{FF2B5EF4-FFF2-40B4-BE49-F238E27FC236}">
                <a16:creationId xmlns:a16="http://schemas.microsoft.com/office/drawing/2014/main" id="{69288829-EFFD-3FEE-F1F8-1B553402E2A5}"/>
              </a:ext>
            </a:extLst>
          </p:cNvPr>
          <p:cNvSpPr/>
          <p:nvPr/>
        </p:nvSpPr>
        <p:spPr>
          <a:xfrm>
            <a:off x="6430963" y="1998663"/>
            <a:ext cx="2278062" cy="1430337"/>
          </a:xfrm>
          <a:prstGeom prst="rect">
            <a:avLst/>
          </a:prstGeom>
          <a:solidFill>
            <a:schemeClr val="bg2"/>
          </a:solidFill>
          <a:ln>
            <a:noFill/>
          </a:ln>
        </p:spPr>
        <p:style>
          <a:lnRef idx="2">
            <a:schemeClr val="accent6"/>
          </a:lnRef>
          <a:fillRef idx="1">
            <a:schemeClr val="lt1"/>
          </a:fillRef>
          <a:effectRef idx="0">
            <a:schemeClr val="accent6"/>
          </a:effectRef>
          <a:fontRef idx="minor">
            <a:schemeClr val="dk1"/>
          </a:fontRef>
        </p:style>
        <p:txBody>
          <a:bodyPr/>
          <a:lstStyle/>
          <a:p>
            <a:pPr algn="ctr" defTabSz="914377" eaLnBrk="1" fontAlgn="auto" hangingPunct="1">
              <a:spcBef>
                <a:spcPts val="0"/>
              </a:spcBef>
              <a:spcAft>
                <a:spcPts val="0"/>
              </a:spcAft>
              <a:defRPr/>
            </a:pPr>
            <a:endParaRPr lang="en-CA" sz="1400" dirty="0">
              <a:solidFill>
                <a:srgbClr val="000000"/>
              </a:solidFill>
            </a:endParaRPr>
          </a:p>
        </p:txBody>
      </p:sp>
      <p:cxnSp>
        <p:nvCxnSpPr>
          <p:cNvPr id="7" name="Straight Connector 6">
            <a:extLst>
              <a:ext uri="{FF2B5EF4-FFF2-40B4-BE49-F238E27FC236}">
                <a16:creationId xmlns:a16="http://schemas.microsoft.com/office/drawing/2014/main" id="{802A37F8-5922-E176-CDAF-AB5BA08AEE34}"/>
              </a:ext>
            </a:extLst>
          </p:cNvPr>
          <p:cNvCxnSpPr/>
          <p:nvPr/>
        </p:nvCxnSpPr>
        <p:spPr>
          <a:xfrm>
            <a:off x="0" y="3779838"/>
            <a:ext cx="12192000" cy="0"/>
          </a:xfrm>
          <a:prstGeom prst="line">
            <a:avLst/>
          </a:prstGeom>
          <a:ln w="19050" cap="sq">
            <a:solidFill>
              <a:schemeClr val="accent1"/>
            </a:solidFill>
          </a:ln>
        </p:spPr>
        <p:style>
          <a:lnRef idx="1">
            <a:schemeClr val="dk1"/>
          </a:lnRef>
          <a:fillRef idx="0">
            <a:schemeClr val="dk1"/>
          </a:fillRef>
          <a:effectRef idx="0">
            <a:schemeClr val="dk1"/>
          </a:effectRef>
          <a:fontRef idx="minor">
            <a:schemeClr val="tx1"/>
          </a:fontRef>
        </p:style>
      </p:cxnSp>
      <p:sp>
        <p:nvSpPr>
          <p:cNvPr id="8" name="Isosceles Triangle 7">
            <a:extLst>
              <a:ext uri="{FF2B5EF4-FFF2-40B4-BE49-F238E27FC236}">
                <a16:creationId xmlns:a16="http://schemas.microsoft.com/office/drawing/2014/main" id="{4EAE8C26-6209-2EB1-F20C-6CD4A03E9A09}"/>
              </a:ext>
            </a:extLst>
          </p:cNvPr>
          <p:cNvSpPr/>
          <p:nvPr/>
        </p:nvSpPr>
        <p:spPr>
          <a:xfrm flipH="1">
            <a:off x="3044825" y="3587750"/>
            <a:ext cx="190500" cy="192088"/>
          </a:xfrm>
          <a:prstGeom prst="triangle">
            <a:avLst/>
          </a:prstGeom>
          <a:solidFill>
            <a:schemeClr val="accent1"/>
          </a:solidFill>
          <a:ln>
            <a:noFill/>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CA" sz="2400" dirty="0">
              <a:solidFill>
                <a:srgbClr val="000000"/>
              </a:solidFill>
            </a:endParaRPr>
          </a:p>
        </p:txBody>
      </p:sp>
      <p:sp>
        <p:nvSpPr>
          <p:cNvPr id="9" name="Isosceles Triangle 8">
            <a:extLst>
              <a:ext uri="{FF2B5EF4-FFF2-40B4-BE49-F238E27FC236}">
                <a16:creationId xmlns:a16="http://schemas.microsoft.com/office/drawing/2014/main" id="{0B6D316B-0D9F-EC01-5583-C9943B095526}"/>
              </a:ext>
            </a:extLst>
          </p:cNvPr>
          <p:cNvSpPr/>
          <p:nvPr/>
        </p:nvSpPr>
        <p:spPr>
          <a:xfrm flipH="1">
            <a:off x="5973763" y="3587750"/>
            <a:ext cx="192087" cy="192088"/>
          </a:xfrm>
          <a:prstGeom prst="triangle">
            <a:avLst/>
          </a:prstGeom>
          <a:solidFill>
            <a:schemeClr val="accent1"/>
          </a:solidFill>
          <a:ln>
            <a:noFill/>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CA" sz="2400" dirty="0">
              <a:solidFill>
                <a:srgbClr val="000000"/>
              </a:solidFill>
            </a:endParaRPr>
          </a:p>
        </p:txBody>
      </p:sp>
      <p:sp>
        <p:nvSpPr>
          <p:cNvPr id="10" name="Isosceles Triangle 9">
            <a:extLst>
              <a:ext uri="{FF2B5EF4-FFF2-40B4-BE49-F238E27FC236}">
                <a16:creationId xmlns:a16="http://schemas.microsoft.com/office/drawing/2014/main" id="{7655412A-884B-14AB-9A87-592CD50334C7}"/>
              </a:ext>
            </a:extLst>
          </p:cNvPr>
          <p:cNvSpPr/>
          <p:nvPr/>
        </p:nvSpPr>
        <p:spPr>
          <a:xfrm flipH="1">
            <a:off x="8902700" y="3587750"/>
            <a:ext cx="192088" cy="192088"/>
          </a:xfrm>
          <a:prstGeom prst="triangle">
            <a:avLst/>
          </a:prstGeom>
          <a:solidFill>
            <a:schemeClr val="accent1"/>
          </a:solidFill>
          <a:ln>
            <a:noFill/>
          </a:ln>
        </p:spPr>
        <p:style>
          <a:lnRef idx="2">
            <a:schemeClr val="accent6"/>
          </a:lnRef>
          <a:fillRef idx="1">
            <a:schemeClr val="lt1"/>
          </a:fillRef>
          <a:effectRef idx="0">
            <a:schemeClr val="accent6"/>
          </a:effectRef>
          <a:fontRef idx="minor">
            <a:schemeClr val="dk1"/>
          </a:fontRef>
        </p:style>
        <p:txBody>
          <a:bodyPr anchor="ctr"/>
          <a:lstStyle/>
          <a:p>
            <a:pPr algn="ctr" defTabSz="914377" eaLnBrk="1" fontAlgn="auto" hangingPunct="1">
              <a:spcBef>
                <a:spcPts val="0"/>
              </a:spcBef>
              <a:spcAft>
                <a:spcPts val="0"/>
              </a:spcAft>
              <a:defRPr/>
            </a:pPr>
            <a:endParaRPr lang="en-CA" sz="2400" dirty="0">
              <a:solidFill>
                <a:srgbClr val="000000"/>
              </a:solidFill>
            </a:endParaRPr>
          </a:p>
        </p:txBody>
      </p:sp>
      <p:sp>
        <p:nvSpPr>
          <p:cNvPr id="29" name="Text Placeholder 3"/>
          <p:cNvSpPr>
            <a:spLocks noGrp="1"/>
          </p:cNvSpPr>
          <p:nvPr>
            <p:ph type="body" sz="quarter" idx="10"/>
          </p:nvPr>
        </p:nvSpPr>
        <p:spPr>
          <a:xfrm>
            <a:off x="553321" y="550779"/>
            <a:ext cx="8314454" cy="864136"/>
          </a:xfrm>
          <a:prstGeom prst="rect">
            <a:avLst/>
          </a:prstGeom>
        </p:spPr>
        <p:txBody>
          <a:bodyPr/>
          <a:lstStyle>
            <a:lvl1pPr marL="0" indent="0">
              <a:lnSpc>
                <a:spcPct val="100000"/>
              </a:lnSpc>
              <a:spcBef>
                <a:spcPts val="0"/>
              </a:spcBef>
              <a:buNone/>
              <a:defRPr sz="2400" b="1" baseline="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32" name="Text Placeholder 10"/>
          <p:cNvSpPr>
            <a:spLocks noGrp="1"/>
          </p:cNvSpPr>
          <p:nvPr>
            <p:ph type="body" sz="quarter" idx="30"/>
          </p:nvPr>
        </p:nvSpPr>
        <p:spPr>
          <a:xfrm>
            <a:off x="1993558" y="4007692"/>
            <a:ext cx="2520000" cy="576000"/>
          </a:xfrm>
        </p:spPr>
        <p:txBody>
          <a:bodyPr>
            <a:noAutofit/>
          </a:bodyPr>
          <a:lstStyle>
            <a:lvl1pPr marL="0" indent="0" algn="ctr">
              <a:lnSpc>
                <a:spcPct val="100000"/>
              </a:lnSpc>
              <a:spcBef>
                <a:spcPts val="0"/>
              </a:spcBef>
              <a:spcAft>
                <a:spcPts val="0"/>
              </a:spcAft>
              <a:buNone/>
              <a:defRPr sz="1800" b="1" baseline="0">
                <a:solidFill>
                  <a:srgbClr val="000000"/>
                </a:solidFill>
                <a:latin typeface="+mn-lt"/>
              </a:defRPr>
            </a:lvl1pPr>
          </a:lstStyle>
          <a:p>
            <a:pPr lvl="0"/>
            <a:r>
              <a:rPr lang="en-US" noProof="0"/>
              <a:t>Click to edit Master text styles</a:t>
            </a:r>
          </a:p>
        </p:txBody>
      </p:sp>
      <p:sp>
        <p:nvSpPr>
          <p:cNvPr id="33" name="Text Placeholder 10"/>
          <p:cNvSpPr>
            <a:spLocks noGrp="1"/>
          </p:cNvSpPr>
          <p:nvPr>
            <p:ph type="body" sz="quarter" idx="36"/>
          </p:nvPr>
        </p:nvSpPr>
        <p:spPr>
          <a:xfrm>
            <a:off x="4848098" y="4007692"/>
            <a:ext cx="2520000" cy="576000"/>
          </a:xfrm>
        </p:spPr>
        <p:txBody>
          <a:bodyPr>
            <a:noAutofit/>
          </a:bodyPr>
          <a:lstStyle>
            <a:lvl1pPr marL="0" indent="0" algn="ctr">
              <a:lnSpc>
                <a:spcPct val="100000"/>
              </a:lnSpc>
              <a:spcBef>
                <a:spcPts val="0"/>
              </a:spcBef>
              <a:spcAft>
                <a:spcPts val="0"/>
              </a:spcAft>
              <a:buNone/>
              <a:defRPr sz="1800" b="1" baseline="0">
                <a:solidFill>
                  <a:srgbClr val="000000"/>
                </a:solidFill>
                <a:latin typeface="+mn-lt"/>
              </a:defRPr>
            </a:lvl1pPr>
          </a:lstStyle>
          <a:p>
            <a:pPr lvl="0"/>
            <a:r>
              <a:rPr lang="en-US" noProof="0"/>
              <a:t>Click to edit Master text styles</a:t>
            </a:r>
          </a:p>
        </p:txBody>
      </p:sp>
      <p:sp>
        <p:nvSpPr>
          <p:cNvPr id="34" name="Text Placeholder 10"/>
          <p:cNvSpPr>
            <a:spLocks noGrp="1"/>
          </p:cNvSpPr>
          <p:nvPr>
            <p:ph type="body" sz="quarter" idx="39"/>
          </p:nvPr>
        </p:nvSpPr>
        <p:spPr>
          <a:xfrm>
            <a:off x="7702638" y="4007692"/>
            <a:ext cx="2520000" cy="576000"/>
          </a:xfrm>
        </p:spPr>
        <p:txBody>
          <a:bodyPr>
            <a:noAutofit/>
          </a:bodyPr>
          <a:lstStyle>
            <a:lvl1pPr marL="0" indent="0" algn="ctr">
              <a:lnSpc>
                <a:spcPct val="100000"/>
              </a:lnSpc>
              <a:spcBef>
                <a:spcPts val="0"/>
              </a:spcBef>
              <a:spcAft>
                <a:spcPts val="0"/>
              </a:spcAft>
              <a:buNone/>
              <a:defRPr sz="1800" b="1" baseline="0">
                <a:solidFill>
                  <a:srgbClr val="000000"/>
                </a:solidFill>
                <a:latin typeface="+mn-lt"/>
              </a:defRPr>
            </a:lvl1pPr>
          </a:lstStyle>
          <a:p>
            <a:pPr lvl="0"/>
            <a:r>
              <a:rPr lang="en-US" noProof="0"/>
              <a:t>Click to edit Master text styles</a:t>
            </a:r>
          </a:p>
        </p:txBody>
      </p:sp>
      <p:sp>
        <p:nvSpPr>
          <p:cNvPr id="38" name="Picture Placeholder 5"/>
          <p:cNvSpPr>
            <a:spLocks noGrp="1"/>
          </p:cNvSpPr>
          <p:nvPr>
            <p:ph type="pic" sz="quarter" idx="13"/>
          </p:nvPr>
        </p:nvSpPr>
        <p:spPr>
          <a:xfrm>
            <a:off x="1993558" y="1990958"/>
            <a:ext cx="2520000" cy="1440000"/>
          </a:xfrm>
          <a:prstGeom prst="rect">
            <a:avLst/>
          </a:prstGeom>
        </p:spPr>
        <p:txBody>
          <a:bodyPr tIns="180000" rtlCol="0">
            <a:normAutofit/>
          </a:bodyPr>
          <a:lstStyle>
            <a:lvl1pPr marL="0" indent="0" algn="ctr">
              <a:buNone/>
              <a:defRPr sz="1400">
                <a:solidFill>
                  <a:srgbClr val="000000"/>
                </a:solidFill>
              </a:defRPr>
            </a:lvl1pPr>
          </a:lstStyle>
          <a:p>
            <a:pPr lvl="0"/>
            <a:r>
              <a:rPr lang="en-US" noProof="0"/>
              <a:t>Click icon to add picture</a:t>
            </a:r>
            <a:endParaRPr lang="en-CA" noProof="0" dirty="0"/>
          </a:p>
        </p:txBody>
      </p:sp>
      <p:sp>
        <p:nvSpPr>
          <p:cNvPr id="39" name="Picture Placeholder 5"/>
          <p:cNvSpPr>
            <a:spLocks noGrp="1"/>
          </p:cNvSpPr>
          <p:nvPr>
            <p:ph type="pic" sz="quarter" idx="35"/>
          </p:nvPr>
        </p:nvSpPr>
        <p:spPr>
          <a:xfrm>
            <a:off x="4848098" y="1990958"/>
            <a:ext cx="2520000" cy="1440000"/>
          </a:xfrm>
          <a:prstGeom prst="rect">
            <a:avLst/>
          </a:prstGeom>
        </p:spPr>
        <p:txBody>
          <a:bodyPr tIns="180000" rtlCol="0">
            <a:normAutofit/>
          </a:bodyPr>
          <a:lstStyle>
            <a:lvl1pPr marL="0" indent="0" algn="ctr">
              <a:buNone/>
              <a:defRPr sz="1400">
                <a:solidFill>
                  <a:srgbClr val="000000"/>
                </a:solidFill>
              </a:defRPr>
            </a:lvl1pPr>
          </a:lstStyle>
          <a:p>
            <a:pPr lvl="0"/>
            <a:r>
              <a:rPr lang="en-US" noProof="0"/>
              <a:t>Click icon to add picture</a:t>
            </a:r>
            <a:endParaRPr lang="en-CA" noProof="0" dirty="0"/>
          </a:p>
        </p:txBody>
      </p:sp>
      <p:sp>
        <p:nvSpPr>
          <p:cNvPr id="40" name="Picture Placeholder 5"/>
          <p:cNvSpPr>
            <a:spLocks noGrp="1"/>
          </p:cNvSpPr>
          <p:nvPr>
            <p:ph type="pic" sz="quarter" idx="40"/>
          </p:nvPr>
        </p:nvSpPr>
        <p:spPr>
          <a:xfrm>
            <a:off x="7702638" y="1990958"/>
            <a:ext cx="2520000" cy="1440000"/>
          </a:xfrm>
          <a:prstGeom prst="rect">
            <a:avLst/>
          </a:prstGeom>
        </p:spPr>
        <p:txBody>
          <a:bodyPr tIns="180000" rtlCol="0">
            <a:normAutofit/>
          </a:bodyPr>
          <a:lstStyle>
            <a:lvl1pPr marL="0" indent="0" algn="ctr">
              <a:buNone/>
              <a:defRPr sz="1400">
                <a:solidFill>
                  <a:srgbClr val="000000"/>
                </a:solidFill>
              </a:defRPr>
            </a:lvl1pPr>
          </a:lstStyle>
          <a:p>
            <a:pPr lvl="0"/>
            <a:r>
              <a:rPr lang="en-US" noProof="0"/>
              <a:t>Click icon to add picture</a:t>
            </a:r>
            <a:endParaRPr lang="en-CA" noProof="0" dirty="0"/>
          </a:p>
        </p:txBody>
      </p:sp>
      <p:sp>
        <p:nvSpPr>
          <p:cNvPr id="41" name="Text Placeholder 10"/>
          <p:cNvSpPr>
            <a:spLocks noGrp="1"/>
          </p:cNvSpPr>
          <p:nvPr>
            <p:ph type="body" sz="quarter" idx="43"/>
          </p:nvPr>
        </p:nvSpPr>
        <p:spPr>
          <a:xfrm>
            <a:off x="1993558" y="4622802"/>
            <a:ext cx="2520000" cy="1670192"/>
          </a:xfrm>
        </p:spPr>
        <p:txBody>
          <a:bodyPr>
            <a:noAutofit/>
          </a:bodyPr>
          <a:lstStyle>
            <a:lvl1pPr marL="0" indent="0" algn="ctr">
              <a:lnSpc>
                <a:spcPct val="100000"/>
              </a:lnSpc>
              <a:spcBef>
                <a:spcPts val="0"/>
              </a:spcBef>
              <a:spcAft>
                <a:spcPts val="600"/>
              </a:spcAft>
              <a:buNone/>
              <a:defRPr sz="1400" b="0" baseline="0">
                <a:solidFill>
                  <a:srgbClr val="000000"/>
                </a:solidFill>
                <a:latin typeface="+mn-lt"/>
              </a:defRPr>
            </a:lvl1pPr>
          </a:lstStyle>
          <a:p>
            <a:pPr lvl="0"/>
            <a:r>
              <a:rPr lang="en-US" noProof="0"/>
              <a:t>Click to edit Master text styles</a:t>
            </a:r>
          </a:p>
        </p:txBody>
      </p:sp>
      <p:sp>
        <p:nvSpPr>
          <p:cNvPr id="42" name="Text Placeholder 10"/>
          <p:cNvSpPr>
            <a:spLocks noGrp="1"/>
          </p:cNvSpPr>
          <p:nvPr>
            <p:ph type="body" sz="quarter" idx="44"/>
          </p:nvPr>
        </p:nvSpPr>
        <p:spPr>
          <a:xfrm>
            <a:off x="4848098" y="4622802"/>
            <a:ext cx="2520000" cy="1670192"/>
          </a:xfrm>
        </p:spPr>
        <p:txBody>
          <a:bodyPr>
            <a:noAutofit/>
          </a:bodyPr>
          <a:lstStyle>
            <a:lvl1pPr marL="0" indent="0" algn="ctr">
              <a:lnSpc>
                <a:spcPct val="100000"/>
              </a:lnSpc>
              <a:spcBef>
                <a:spcPts val="0"/>
              </a:spcBef>
              <a:spcAft>
                <a:spcPts val="600"/>
              </a:spcAft>
              <a:buNone/>
              <a:defRPr sz="1400" b="0" baseline="0">
                <a:solidFill>
                  <a:srgbClr val="000000"/>
                </a:solidFill>
                <a:latin typeface="+mn-lt"/>
              </a:defRPr>
            </a:lvl1pPr>
          </a:lstStyle>
          <a:p>
            <a:pPr lvl="0"/>
            <a:r>
              <a:rPr lang="en-US" noProof="0"/>
              <a:t>Click to edit Master text styles</a:t>
            </a:r>
          </a:p>
        </p:txBody>
      </p:sp>
      <p:sp>
        <p:nvSpPr>
          <p:cNvPr id="43" name="Text Placeholder 10"/>
          <p:cNvSpPr>
            <a:spLocks noGrp="1"/>
          </p:cNvSpPr>
          <p:nvPr>
            <p:ph type="body" sz="quarter" idx="45"/>
          </p:nvPr>
        </p:nvSpPr>
        <p:spPr>
          <a:xfrm>
            <a:off x="7702638" y="4622802"/>
            <a:ext cx="2520000" cy="1670192"/>
          </a:xfrm>
        </p:spPr>
        <p:txBody>
          <a:bodyPr>
            <a:noAutofit/>
          </a:bodyPr>
          <a:lstStyle>
            <a:lvl1pPr marL="0" indent="0" algn="ctr">
              <a:lnSpc>
                <a:spcPct val="100000"/>
              </a:lnSpc>
              <a:spcBef>
                <a:spcPts val="0"/>
              </a:spcBef>
              <a:spcAft>
                <a:spcPts val="600"/>
              </a:spcAft>
              <a:buNone/>
              <a:defRPr sz="1400" b="0" baseline="0">
                <a:solidFill>
                  <a:srgbClr val="000000"/>
                </a:solidFill>
                <a:latin typeface="+mn-lt"/>
              </a:defRPr>
            </a:lvl1pPr>
          </a:lstStyle>
          <a:p>
            <a:pPr lvl="0"/>
            <a:r>
              <a:rPr lang="en-US" noProof="0"/>
              <a:t>Click to edit Master text styles</a:t>
            </a:r>
          </a:p>
        </p:txBody>
      </p:sp>
      <p:sp>
        <p:nvSpPr>
          <p:cNvPr id="11" name="Slide Number Placeholder 3">
            <a:extLst>
              <a:ext uri="{FF2B5EF4-FFF2-40B4-BE49-F238E27FC236}">
                <a16:creationId xmlns:a16="http://schemas.microsoft.com/office/drawing/2014/main" id="{33D5F626-BC32-6F40-6FA3-0ED41ACF60A8}"/>
              </a:ext>
            </a:extLst>
          </p:cNvPr>
          <p:cNvSpPr>
            <a:spLocks noGrp="1"/>
          </p:cNvSpPr>
          <p:nvPr>
            <p:ph type="sldNum" sz="quarter" idx="46"/>
          </p:nvPr>
        </p:nvSpPr>
        <p:spPr/>
        <p:txBody>
          <a:bodyPr/>
          <a:lstStyle>
            <a:lvl1pPr algn="r">
              <a:defRPr sz="1000">
                <a:solidFill>
                  <a:srgbClr val="000000"/>
                </a:solidFill>
              </a:defRPr>
            </a:lvl1pPr>
          </a:lstStyle>
          <a:p>
            <a:pPr>
              <a:defRPr/>
            </a:pPr>
            <a:fld id="{7396D90F-62E6-4C96-A685-6401B001E19B}" type="slidenum">
              <a:rPr lang="en-GB"/>
              <a:pPr>
                <a:defRPr/>
              </a:pPr>
              <a:t>‹#›</a:t>
            </a:fld>
            <a:endParaRPr lang="en-GB" dirty="0"/>
          </a:p>
        </p:txBody>
      </p:sp>
    </p:spTree>
    <p:extLst>
      <p:ext uri="{BB962C8B-B14F-4D97-AF65-F5344CB8AC3E}">
        <p14:creationId xmlns:p14="http://schemas.microsoft.com/office/powerpoint/2010/main" val="3393948644"/>
      </p:ext>
    </p:extLst>
  </p:cSld>
  <p:clrMapOvr>
    <a:masterClrMapping/>
  </p:clrMapOvr>
  <p:transition spd="med" advClick="0">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ext+product_box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D10DCFE-BD12-2803-7692-13477EB4D422}"/>
              </a:ext>
            </a:extLst>
          </p:cNvPr>
          <p:cNvSpPr/>
          <p:nvPr/>
        </p:nvSpPr>
        <p:spPr>
          <a:xfrm>
            <a:off x="4019550" y="0"/>
            <a:ext cx="8172450" cy="6858000"/>
          </a:xfrm>
          <a:prstGeom prst="rect">
            <a:avLst/>
          </a:prstGeom>
          <a:solidFill>
            <a:srgbClr val="F6F5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7">
            <a:extLst>
              <a:ext uri="{FF2B5EF4-FFF2-40B4-BE49-F238E27FC236}">
                <a16:creationId xmlns:a16="http://schemas.microsoft.com/office/drawing/2014/main" id="{DEBC426D-CB05-9991-F38F-3AC8F9C8B7EC}"/>
              </a:ext>
            </a:extLst>
          </p:cNvPr>
          <p:cNvSpPr>
            <a:spLocks noEditPoints="1"/>
          </p:cNvSpPr>
          <p:nvPr/>
        </p:nvSpPr>
        <p:spPr bwMode="auto">
          <a:xfrm>
            <a:off x="9721850" y="563563"/>
            <a:ext cx="1908175" cy="377825"/>
          </a:xfrm>
          <a:custGeom>
            <a:avLst/>
            <a:gdLst>
              <a:gd name="T0" fmla="*/ 1715032 w 3609"/>
              <a:gd name="T1" fmla="*/ 110838 h 723"/>
              <a:gd name="T2" fmla="*/ 1734594 w 3609"/>
              <a:gd name="T3" fmla="*/ 129137 h 723"/>
              <a:gd name="T4" fmla="*/ 1711332 w 3609"/>
              <a:gd name="T5" fmla="*/ 147959 h 723"/>
              <a:gd name="T6" fmla="*/ 1592379 w 3609"/>
              <a:gd name="T7" fmla="*/ 333560 h 723"/>
              <a:gd name="T8" fmla="*/ 1665337 w 3609"/>
              <a:gd name="T9" fmla="*/ 371203 h 723"/>
              <a:gd name="T10" fmla="*/ 1740938 w 3609"/>
              <a:gd name="T11" fmla="*/ 376432 h 723"/>
              <a:gd name="T12" fmla="*/ 1818653 w 3609"/>
              <a:gd name="T13" fmla="*/ 347676 h 723"/>
              <a:gd name="T14" fmla="*/ 1766843 w 3609"/>
              <a:gd name="T15" fmla="*/ 337220 h 723"/>
              <a:gd name="T16" fmla="*/ 1738294 w 3609"/>
              <a:gd name="T17" fmla="*/ 165212 h 723"/>
              <a:gd name="T18" fmla="*/ 1758384 w 3609"/>
              <a:gd name="T19" fmla="*/ 121295 h 723"/>
              <a:gd name="T20" fmla="*/ 1732479 w 3609"/>
              <a:gd name="T21" fmla="*/ 90448 h 723"/>
              <a:gd name="T22" fmla="*/ 1694414 w 3609"/>
              <a:gd name="T23" fmla="*/ 92017 h 723"/>
              <a:gd name="T24" fmla="*/ 1671681 w 3609"/>
              <a:gd name="T25" fmla="*/ 125477 h 723"/>
              <a:gd name="T26" fmla="*/ 1698643 w 3609"/>
              <a:gd name="T27" fmla="*/ 167303 h 723"/>
              <a:gd name="T28" fmla="*/ 1654234 w 3609"/>
              <a:gd name="T29" fmla="*/ 333560 h 723"/>
              <a:gd name="T30" fmla="*/ 1525766 w 3609"/>
              <a:gd name="T31" fmla="*/ 158938 h 723"/>
              <a:gd name="T32" fmla="*/ 1561187 w 3609"/>
              <a:gd name="T33" fmla="*/ 75286 h 723"/>
              <a:gd name="T34" fmla="*/ 1632559 w 3609"/>
              <a:gd name="T35" fmla="*/ 18299 h 723"/>
              <a:gd name="T36" fmla="*/ 1715561 w 3609"/>
              <a:gd name="T37" fmla="*/ 0 h 723"/>
              <a:gd name="T38" fmla="*/ 1807022 w 3609"/>
              <a:gd name="T39" fmla="*/ 22481 h 723"/>
              <a:gd name="T40" fmla="*/ 1875222 w 3609"/>
              <a:gd name="T41" fmla="*/ 82083 h 723"/>
              <a:gd name="T42" fmla="*/ 1906943 w 3609"/>
              <a:gd name="T43" fmla="*/ 168349 h 723"/>
              <a:gd name="T44" fmla="*/ 1898484 w 3609"/>
              <a:gd name="T45" fmla="*/ 246249 h 723"/>
              <a:gd name="T46" fmla="*/ 1836628 w 3609"/>
              <a:gd name="T47" fmla="*/ 286506 h 723"/>
              <a:gd name="T48" fmla="*/ 1872050 w 3609"/>
              <a:gd name="T49" fmla="*/ 187170 h 723"/>
              <a:gd name="T50" fmla="*/ 1853017 w 3609"/>
              <a:gd name="T51" fmla="*/ 113452 h 723"/>
              <a:gd name="T52" fmla="*/ 1802793 w 3609"/>
              <a:gd name="T53" fmla="*/ 58556 h 723"/>
              <a:gd name="T54" fmla="*/ 1731421 w 3609"/>
              <a:gd name="T55" fmla="*/ 32938 h 723"/>
              <a:gd name="T56" fmla="*/ 1662165 w 3609"/>
              <a:gd name="T57" fmla="*/ 41826 h 723"/>
              <a:gd name="T58" fmla="*/ 1600309 w 3609"/>
              <a:gd name="T59" fmla="*/ 83651 h 723"/>
              <a:gd name="T60" fmla="*/ 1564359 w 3609"/>
              <a:gd name="T61" fmla="*/ 149004 h 723"/>
              <a:gd name="T62" fmla="*/ 1568589 w 3609"/>
              <a:gd name="T63" fmla="*/ 239975 h 723"/>
              <a:gd name="T64" fmla="*/ 1550085 w 3609"/>
              <a:gd name="T65" fmla="*/ 283892 h 723"/>
              <a:gd name="T66" fmla="*/ 1523651 w 3609"/>
              <a:gd name="T67" fmla="*/ 205469 h 723"/>
              <a:gd name="T68" fmla="*/ 1358175 w 3609"/>
              <a:gd name="T69" fmla="*/ 246772 h 723"/>
              <a:gd name="T70" fmla="*/ 1332269 w 3609"/>
              <a:gd name="T71" fmla="*/ 155278 h 723"/>
              <a:gd name="T72" fmla="*/ 1118155 w 3609"/>
              <a:gd name="T73" fmla="*/ 157892 h 723"/>
              <a:gd name="T74" fmla="*/ 1163092 w 3609"/>
              <a:gd name="T75" fmla="*/ 126523 h 723"/>
              <a:gd name="T76" fmla="*/ 1206973 w 3609"/>
              <a:gd name="T77" fmla="*/ 139071 h 723"/>
              <a:gd name="T78" fmla="*/ 1188998 w 3609"/>
              <a:gd name="T79" fmla="*/ 162075 h 723"/>
              <a:gd name="T80" fmla="*/ 1163621 w 3609"/>
              <a:gd name="T81" fmla="*/ 153187 h 723"/>
              <a:gd name="T82" fmla="*/ 1143002 w 3609"/>
              <a:gd name="T83" fmla="*/ 188216 h 723"/>
              <a:gd name="T84" fmla="*/ 1168379 w 3609"/>
              <a:gd name="T85" fmla="*/ 224813 h 723"/>
              <a:gd name="T86" fmla="*/ 1221776 w 3609"/>
              <a:gd name="T87" fmla="*/ 181419 h 723"/>
              <a:gd name="T88" fmla="*/ 1173666 w 3609"/>
              <a:gd name="T89" fmla="*/ 250954 h 723"/>
              <a:gd name="T90" fmla="*/ 1123970 w 3609"/>
              <a:gd name="T91" fmla="*/ 230041 h 723"/>
              <a:gd name="T92" fmla="*/ 1043611 w 3609"/>
              <a:gd name="T93" fmla="*/ 160506 h 723"/>
              <a:gd name="T94" fmla="*/ 1026693 w 3609"/>
              <a:gd name="T95" fmla="*/ 129660 h 723"/>
              <a:gd name="T96" fmla="*/ 894524 w 3609"/>
              <a:gd name="T97" fmla="*/ 129660 h 723"/>
              <a:gd name="T98" fmla="*/ 841656 w 3609"/>
              <a:gd name="T99" fmla="*/ 200241 h 723"/>
              <a:gd name="T100" fmla="*/ 656090 w 3609"/>
              <a:gd name="T101" fmla="*/ 200241 h 723"/>
              <a:gd name="T102" fmla="*/ 523392 w 3609"/>
              <a:gd name="T103" fmla="*/ 246772 h 723"/>
              <a:gd name="T104" fmla="*/ 360030 w 3609"/>
              <a:gd name="T105" fmla="*/ 246772 h 723"/>
              <a:gd name="T106" fmla="*/ 391222 w 3609"/>
              <a:gd name="T107" fmla="*/ 129660 h 723"/>
              <a:gd name="T108" fmla="*/ 278085 w 3609"/>
              <a:gd name="T109" fmla="*/ 175668 h 723"/>
              <a:gd name="T110" fmla="*/ 119481 w 3609"/>
              <a:gd name="T111" fmla="*/ 218017 h 723"/>
              <a:gd name="T112" fmla="*/ 154374 w 3609"/>
              <a:gd name="T113" fmla="*/ 249909 h 723"/>
              <a:gd name="T114" fmla="*/ 197726 w 3609"/>
              <a:gd name="T115" fmla="*/ 244680 h 723"/>
              <a:gd name="T116" fmla="*/ 220988 w 3609"/>
              <a:gd name="T117" fmla="*/ 198672 h 723"/>
              <a:gd name="T118" fmla="*/ 177636 w 3609"/>
              <a:gd name="T119" fmla="*/ 223245 h 723"/>
              <a:gd name="T120" fmla="*/ 149616 w 3609"/>
              <a:gd name="T121" fmla="*/ 208083 h 723"/>
              <a:gd name="T122" fmla="*/ 106264 w 3609"/>
              <a:gd name="T123" fmla="*/ 246772 h 7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609" h="723">
                <a:moveTo>
                  <a:pt x="3208" y="247"/>
                </a:moveTo>
                <a:lnTo>
                  <a:pt x="3208" y="247"/>
                </a:lnTo>
                <a:lnTo>
                  <a:pt x="3210" y="240"/>
                </a:lnTo>
                <a:lnTo>
                  <a:pt x="3212" y="233"/>
                </a:lnTo>
                <a:lnTo>
                  <a:pt x="3215" y="227"/>
                </a:lnTo>
                <a:lnTo>
                  <a:pt x="3220" y="222"/>
                </a:lnTo>
                <a:lnTo>
                  <a:pt x="3225" y="217"/>
                </a:lnTo>
                <a:lnTo>
                  <a:pt x="3231" y="214"/>
                </a:lnTo>
                <a:lnTo>
                  <a:pt x="3237" y="212"/>
                </a:lnTo>
                <a:lnTo>
                  <a:pt x="3244" y="212"/>
                </a:lnTo>
                <a:lnTo>
                  <a:pt x="3252" y="212"/>
                </a:lnTo>
                <a:lnTo>
                  <a:pt x="3258" y="214"/>
                </a:lnTo>
                <a:lnTo>
                  <a:pt x="3265" y="217"/>
                </a:lnTo>
                <a:lnTo>
                  <a:pt x="3271" y="222"/>
                </a:lnTo>
                <a:lnTo>
                  <a:pt x="3275" y="227"/>
                </a:lnTo>
                <a:lnTo>
                  <a:pt x="3278" y="233"/>
                </a:lnTo>
                <a:lnTo>
                  <a:pt x="3281" y="240"/>
                </a:lnTo>
                <a:lnTo>
                  <a:pt x="3281" y="247"/>
                </a:lnTo>
                <a:lnTo>
                  <a:pt x="3281" y="255"/>
                </a:lnTo>
                <a:lnTo>
                  <a:pt x="3278" y="262"/>
                </a:lnTo>
                <a:lnTo>
                  <a:pt x="3275" y="268"/>
                </a:lnTo>
                <a:lnTo>
                  <a:pt x="3271" y="273"/>
                </a:lnTo>
                <a:lnTo>
                  <a:pt x="3265" y="277"/>
                </a:lnTo>
                <a:lnTo>
                  <a:pt x="3258" y="281"/>
                </a:lnTo>
                <a:lnTo>
                  <a:pt x="3252" y="283"/>
                </a:lnTo>
                <a:lnTo>
                  <a:pt x="3244" y="284"/>
                </a:lnTo>
                <a:lnTo>
                  <a:pt x="3237" y="283"/>
                </a:lnTo>
                <a:lnTo>
                  <a:pt x="3231" y="281"/>
                </a:lnTo>
                <a:lnTo>
                  <a:pt x="3225" y="277"/>
                </a:lnTo>
                <a:lnTo>
                  <a:pt x="3220" y="273"/>
                </a:lnTo>
                <a:lnTo>
                  <a:pt x="3215" y="268"/>
                </a:lnTo>
                <a:lnTo>
                  <a:pt x="3212" y="262"/>
                </a:lnTo>
                <a:lnTo>
                  <a:pt x="3210" y="255"/>
                </a:lnTo>
                <a:lnTo>
                  <a:pt x="3208" y="247"/>
                </a:lnTo>
                <a:close/>
                <a:moveTo>
                  <a:pt x="3012" y="638"/>
                </a:moveTo>
                <a:lnTo>
                  <a:pt x="3012" y="638"/>
                </a:lnTo>
                <a:lnTo>
                  <a:pt x="3024" y="648"/>
                </a:lnTo>
                <a:lnTo>
                  <a:pt x="3037" y="656"/>
                </a:lnTo>
                <a:lnTo>
                  <a:pt x="3050" y="665"/>
                </a:lnTo>
                <a:lnTo>
                  <a:pt x="3063" y="674"/>
                </a:lnTo>
                <a:lnTo>
                  <a:pt x="3076" y="682"/>
                </a:lnTo>
                <a:lnTo>
                  <a:pt x="3091" y="689"/>
                </a:lnTo>
                <a:lnTo>
                  <a:pt x="3105" y="695"/>
                </a:lnTo>
                <a:lnTo>
                  <a:pt x="3120" y="701"/>
                </a:lnTo>
                <a:lnTo>
                  <a:pt x="3134" y="705"/>
                </a:lnTo>
                <a:lnTo>
                  <a:pt x="3150" y="710"/>
                </a:lnTo>
                <a:lnTo>
                  <a:pt x="3165" y="714"/>
                </a:lnTo>
                <a:lnTo>
                  <a:pt x="3181" y="717"/>
                </a:lnTo>
                <a:lnTo>
                  <a:pt x="3196" y="720"/>
                </a:lnTo>
                <a:lnTo>
                  <a:pt x="3213" y="721"/>
                </a:lnTo>
                <a:lnTo>
                  <a:pt x="3228" y="722"/>
                </a:lnTo>
                <a:lnTo>
                  <a:pt x="3245" y="723"/>
                </a:lnTo>
                <a:lnTo>
                  <a:pt x="3261" y="722"/>
                </a:lnTo>
                <a:lnTo>
                  <a:pt x="3277" y="721"/>
                </a:lnTo>
                <a:lnTo>
                  <a:pt x="3293" y="720"/>
                </a:lnTo>
                <a:lnTo>
                  <a:pt x="3309" y="717"/>
                </a:lnTo>
                <a:lnTo>
                  <a:pt x="3325" y="714"/>
                </a:lnTo>
                <a:lnTo>
                  <a:pt x="3341" y="710"/>
                </a:lnTo>
                <a:lnTo>
                  <a:pt x="3355" y="705"/>
                </a:lnTo>
                <a:lnTo>
                  <a:pt x="3370" y="701"/>
                </a:lnTo>
                <a:lnTo>
                  <a:pt x="3385" y="695"/>
                </a:lnTo>
                <a:lnTo>
                  <a:pt x="3399" y="689"/>
                </a:lnTo>
                <a:lnTo>
                  <a:pt x="3414" y="682"/>
                </a:lnTo>
                <a:lnTo>
                  <a:pt x="3427" y="674"/>
                </a:lnTo>
                <a:lnTo>
                  <a:pt x="3440" y="665"/>
                </a:lnTo>
                <a:lnTo>
                  <a:pt x="3454" y="656"/>
                </a:lnTo>
                <a:lnTo>
                  <a:pt x="3466" y="648"/>
                </a:lnTo>
                <a:lnTo>
                  <a:pt x="3477" y="638"/>
                </a:lnTo>
                <a:lnTo>
                  <a:pt x="3433" y="590"/>
                </a:lnTo>
                <a:lnTo>
                  <a:pt x="3416" y="604"/>
                </a:lnTo>
                <a:lnTo>
                  <a:pt x="3398" y="617"/>
                </a:lnTo>
                <a:lnTo>
                  <a:pt x="3380" y="628"/>
                </a:lnTo>
                <a:lnTo>
                  <a:pt x="3362" y="638"/>
                </a:lnTo>
                <a:lnTo>
                  <a:pt x="3342" y="645"/>
                </a:lnTo>
                <a:lnTo>
                  <a:pt x="3321" y="652"/>
                </a:lnTo>
                <a:lnTo>
                  <a:pt x="3299" y="658"/>
                </a:lnTo>
                <a:lnTo>
                  <a:pt x="3277" y="660"/>
                </a:lnTo>
                <a:lnTo>
                  <a:pt x="3277" y="406"/>
                </a:lnTo>
                <a:lnTo>
                  <a:pt x="3339" y="406"/>
                </a:lnTo>
                <a:lnTo>
                  <a:pt x="3339" y="358"/>
                </a:lnTo>
                <a:lnTo>
                  <a:pt x="3277" y="358"/>
                </a:lnTo>
                <a:lnTo>
                  <a:pt x="3277" y="320"/>
                </a:lnTo>
                <a:lnTo>
                  <a:pt x="3288" y="316"/>
                </a:lnTo>
                <a:lnTo>
                  <a:pt x="3297" y="309"/>
                </a:lnTo>
                <a:lnTo>
                  <a:pt x="3306" y="302"/>
                </a:lnTo>
                <a:lnTo>
                  <a:pt x="3314" y="293"/>
                </a:lnTo>
                <a:lnTo>
                  <a:pt x="3319" y="284"/>
                </a:lnTo>
                <a:lnTo>
                  <a:pt x="3324" y="273"/>
                </a:lnTo>
                <a:lnTo>
                  <a:pt x="3327" y="261"/>
                </a:lnTo>
                <a:lnTo>
                  <a:pt x="3328" y="248"/>
                </a:lnTo>
                <a:lnTo>
                  <a:pt x="3327" y="240"/>
                </a:lnTo>
                <a:lnTo>
                  <a:pt x="3326" y="232"/>
                </a:lnTo>
                <a:lnTo>
                  <a:pt x="3324" y="224"/>
                </a:lnTo>
                <a:lnTo>
                  <a:pt x="3322" y="216"/>
                </a:lnTo>
                <a:lnTo>
                  <a:pt x="3318" y="208"/>
                </a:lnTo>
                <a:lnTo>
                  <a:pt x="3314" y="202"/>
                </a:lnTo>
                <a:lnTo>
                  <a:pt x="3309" y="195"/>
                </a:lnTo>
                <a:lnTo>
                  <a:pt x="3304" y="190"/>
                </a:lnTo>
                <a:lnTo>
                  <a:pt x="3298" y="185"/>
                </a:lnTo>
                <a:lnTo>
                  <a:pt x="3292" y="180"/>
                </a:lnTo>
                <a:lnTo>
                  <a:pt x="3285" y="176"/>
                </a:lnTo>
                <a:lnTo>
                  <a:pt x="3277" y="173"/>
                </a:lnTo>
                <a:lnTo>
                  <a:pt x="3270" y="170"/>
                </a:lnTo>
                <a:lnTo>
                  <a:pt x="3262" y="167"/>
                </a:lnTo>
                <a:lnTo>
                  <a:pt x="3254" y="166"/>
                </a:lnTo>
                <a:lnTo>
                  <a:pt x="3245" y="166"/>
                </a:lnTo>
                <a:lnTo>
                  <a:pt x="3236" y="166"/>
                </a:lnTo>
                <a:lnTo>
                  <a:pt x="3228" y="167"/>
                </a:lnTo>
                <a:lnTo>
                  <a:pt x="3221" y="170"/>
                </a:lnTo>
                <a:lnTo>
                  <a:pt x="3213" y="173"/>
                </a:lnTo>
                <a:lnTo>
                  <a:pt x="3205" y="176"/>
                </a:lnTo>
                <a:lnTo>
                  <a:pt x="3199" y="180"/>
                </a:lnTo>
                <a:lnTo>
                  <a:pt x="3192" y="185"/>
                </a:lnTo>
                <a:lnTo>
                  <a:pt x="3186" y="190"/>
                </a:lnTo>
                <a:lnTo>
                  <a:pt x="3181" y="195"/>
                </a:lnTo>
                <a:lnTo>
                  <a:pt x="3176" y="202"/>
                </a:lnTo>
                <a:lnTo>
                  <a:pt x="3172" y="208"/>
                </a:lnTo>
                <a:lnTo>
                  <a:pt x="3169" y="216"/>
                </a:lnTo>
                <a:lnTo>
                  <a:pt x="3165" y="224"/>
                </a:lnTo>
                <a:lnTo>
                  <a:pt x="3163" y="232"/>
                </a:lnTo>
                <a:lnTo>
                  <a:pt x="3162" y="240"/>
                </a:lnTo>
                <a:lnTo>
                  <a:pt x="3162" y="248"/>
                </a:lnTo>
                <a:lnTo>
                  <a:pt x="3163" y="261"/>
                </a:lnTo>
                <a:lnTo>
                  <a:pt x="3165" y="273"/>
                </a:lnTo>
                <a:lnTo>
                  <a:pt x="3170" y="284"/>
                </a:lnTo>
                <a:lnTo>
                  <a:pt x="3176" y="293"/>
                </a:lnTo>
                <a:lnTo>
                  <a:pt x="3183" y="302"/>
                </a:lnTo>
                <a:lnTo>
                  <a:pt x="3192" y="309"/>
                </a:lnTo>
                <a:lnTo>
                  <a:pt x="3202" y="316"/>
                </a:lnTo>
                <a:lnTo>
                  <a:pt x="3213" y="320"/>
                </a:lnTo>
                <a:lnTo>
                  <a:pt x="3213" y="358"/>
                </a:lnTo>
                <a:lnTo>
                  <a:pt x="3151" y="358"/>
                </a:lnTo>
                <a:lnTo>
                  <a:pt x="3151" y="406"/>
                </a:lnTo>
                <a:lnTo>
                  <a:pt x="3213" y="406"/>
                </a:lnTo>
                <a:lnTo>
                  <a:pt x="3213" y="660"/>
                </a:lnTo>
                <a:lnTo>
                  <a:pt x="3191" y="658"/>
                </a:lnTo>
                <a:lnTo>
                  <a:pt x="3170" y="652"/>
                </a:lnTo>
                <a:lnTo>
                  <a:pt x="3149" y="645"/>
                </a:lnTo>
                <a:lnTo>
                  <a:pt x="3129" y="638"/>
                </a:lnTo>
                <a:lnTo>
                  <a:pt x="3110" y="628"/>
                </a:lnTo>
                <a:lnTo>
                  <a:pt x="3091" y="617"/>
                </a:lnTo>
                <a:lnTo>
                  <a:pt x="3074" y="604"/>
                </a:lnTo>
                <a:lnTo>
                  <a:pt x="3058" y="590"/>
                </a:lnTo>
                <a:lnTo>
                  <a:pt x="3012" y="638"/>
                </a:lnTo>
                <a:close/>
                <a:moveTo>
                  <a:pt x="2881" y="358"/>
                </a:moveTo>
                <a:lnTo>
                  <a:pt x="2881" y="358"/>
                </a:lnTo>
                <a:lnTo>
                  <a:pt x="2881" y="340"/>
                </a:lnTo>
                <a:lnTo>
                  <a:pt x="2883" y="322"/>
                </a:lnTo>
                <a:lnTo>
                  <a:pt x="2886" y="304"/>
                </a:lnTo>
                <a:lnTo>
                  <a:pt x="2889" y="286"/>
                </a:lnTo>
                <a:lnTo>
                  <a:pt x="2892" y="269"/>
                </a:lnTo>
                <a:lnTo>
                  <a:pt x="2898" y="252"/>
                </a:lnTo>
                <a:lnTo>
                  <a:pt x="2903" y="235"/>
                </a:lnTo>
                <a:lnTo>
                  <a:pt x="2910" y="218"/>
                </a:lnTo>
                <a:lnTo>
                  <a:pt x="2917" y="203"/>
                </a:lnTo>
                <a:lnTo>
                  <a:pt x="2926" y="187"/>
                </a:lnTo>
                <a:lnTo>
                  <a:pt x="2933" y="173"/>
                </a:lnTo>
                <a:lnTo>
                  <a:pt x="2943" y="157"/>
                </a:lnTo>
                <a:lnTo>
                  <a:pt x="2953" y="144"/>
                </a:lnTo>
                <a:lnTo>
                  <a:pt x="2964" y="131"/>
                </a:lnTo>
                <a:lnTo>
                  <a:pt x="2976" y="118"/>
                </a:lnTo>
                <a:lnTo>
                  <a:pt x="2988" y="104"/>
                </a:lnTo>
                <a:lnTo>
                  <a:pt x="3001" y="93"/>
                </a:lnTo>
                <a:lnTo>
                  <a:pt x="3013" y="82"/>
                </a:lnTo>
                <a:lnTo>
                  <a:pt x="3028" y="71"/>
                </a:lnTo>
                <a:lnTo>
                  <a:pt x="3042" y="61"/>
                </a:lnTo>
                <a:lnTo>
                  <a:pt x="3057" y="51"/>
                </a:lnTo>
                <a:lnTo>
                  <a:pt x="3072" y="43"/>
                </a:lnTo>
                <a:lnTo>
                  <a:pt x="3088" y="35"/>
                </a:lnTo>
                <a:lnTo>
                  <a:pt x="3103" y="28"/>
                </a:lnTo>
                <a:lnTo>
                  <a:pt x="3120" y="21"/>
                </a:lnTo>
                <a:lnTo>
                  <a:pt x="3137" y="16"/>
                </a:lnTo>
                <a:lnTo>
                  <a:pt x="3154" y="11"/>
                </a:lnTo>
                <a:lnTo>
                  <a:pt x="3172" y="7"/>
                </a:lnTo>
                <a:lnTo>
                  <a:pt x="3190" y="3"/>
                </a:lnTo>
                <a:lnTo>
                  <a:pt x="3207" y="1"/>
                </a:lnTo>
                <a:lnTo>
                  <a:pt x="3226" y="0"/>
                </a:lnTo>
                <a:lnTo>
                  <a:pt x="3245" y="0"/>
                </a:lnTo>
                <a:lnTo>
                  <a:pt x="3264" y="0"/>
                </a:lnTo>
                <a:lnTo>
                  <a:pt x="3282" y="1"/>
                </a:lnTo>
                <a:lnTo>
                  <a:pt x="3301" y="3"/>
                </a:lnTo>
                <a:lnTo>
                  <a:pt x="3318" y="7"/>
                </a:lnTo>
                <a:lnTo>
                  <a:pt x="3336" y="11"/>
                </a:lnTo>
                <a:lnTo>
                  <a:pt x="3353" y="16"/>
                </a:lnTo>
                <a:lnTo>
                  <a:pt x="3369" y="21"/>
                </a:lnTo>
                <a:lnTo>
                  <a:pt x="3386" y="28"/>
                </a:lnTo>
                <a:lnTo>
                  <a:pt x="3403" y="35"/>
                </a:lnTo>
                <a:lnTo>
                  <a:pt x="3418" y="43"/>
                </a:lnTo>
                <a:lnTo>
                  <a:pt x="3434" y="51"/>
                </a:lnTo>
                <a:lnTo>
                  <a:pt x="3448" y="61"/>
                </a:lnTo>
                <a:lnTo>
                  <a:pt x="3463" y="71"/>
                </a:lnTo>
                <a:lnTo>
                  <a:pt x="3476" y="82"/>
                </a:lnTo>
                <a:lnTo>
                  <a:pt x="3489" y="93"/>
                </a:lnTo>
                <a:lnTo>
                  <a:pt x="3502" y="104"/>
                </a:lnTo>
                <a:lnTo>
                  <a:pt x="3515" y="118"/>
                </a:lnTo>
                <a:lnTo>
                  <a:pt x="3526" y="131"/>
                </a:lnTo>
                <a:lnTo>
                  <a:pt x="3537" y="144"/>
                </a:lnTo>
                <a:lnTo>
                  <a:pt x="3547" y="157"/>
                </a:lnTo>
                <a:lnTo>
                  <a:pt x="3556" y="173"/>
                </a:lnTo>
                <a:lnTo>
                  <a:pt x="3565" y="187"/>
                </a:lnTo>
                <a:lnTo>
                  <a:pt x="3572" y="203"/>
                </a:lnTo>
                <a:lnTo>
                  <a:pt x="3580" y="218"/>
                </a:lnTo>
                <a:lnTo>
                  <a:pt x="3587" y="235"/>
                </a:lnTo>
                <a:lnTo>
                  <a:pt x="3592" y="252"/>
                </a:lnTo>
                <a:lnTo>
                  <a:pt x="3598" y="269"/>
                </a:lnTo>
                <a:lnTo>
                  <a:pt x="3601" y="286"/>
                </a:lnTo>
                <a:lnTo>
                  <a:pt x="3605" y="304"/>
                </a:lnTo>
                <a:lnTo>
                  <a:pt x="3607" y="322"/>
                </a:lnTo>
                <a:lnTo>
                  <a:pt x="3608" y="340"/>
                </a:lnTo>
                <a:lnTo>
                  <a:pt x="3609" y="358"/>
                </a:lnTo>
                <a:lnTo>
                  <a:pt x="3609" y="376"/>
                </a:lnTo>
                <a:lnTo>
                  <a:pt x="3608" y="393"/>
                </a:lnTo>
                <a:lnTo>
                  <a:pt x="3606" y="408"/>
                </a:lnTo>
                <a:lnTo>
                  <a:pt x="3602" y="425"/>
                </a:lnTo>
                <a:lnTo>
                  <a:pt x="3599" y="440"/>
                </a:lnTo>
                <a:lnTo>
                  <a:pt x="3596" y="456"/>
                </a:lnTo>
                <a:lnTo>
                  <a:pt x="3591" y="471"/>
                </a:lnTo>
                <a:lnTo>
                  <a:pt x="3586" y="487"/>
                </a:lnTo>
                <a:lnTo>
                  <a:pt x="3579" y="501"/>
                </a:lnTo>
                <a:lnTo>
                  <a:pt x="3572" y="516"/>
                </a:lnTo>
                <a:lnTo>
                  <a:pt x="3566" y="530"/>
                </a:lnTo>
                <a:lnTo>
                  <a:pt x="3558" y="543"/>
                </a:lnTo>
                <a:lnTo>
                  <a:pt x="3549" y="557"/>
                </a:lnTo>
                <a:lnTo>
                  <a:pt x="3540" y="570"/>
                </a:lnTo>
                <a:lnTo>
                  <a:pt x="3531" y="583"/>
                </a:lnTo>
                <a:lnTo>
                  <a:pt x="3520" y="595"/>
                </a:lnTo>
                <a:lnTo>
                  <a:pt x="3474" y="548"/>
                </a:lnTo>
                <a:lnTo>
                  <a:pt x="3489" y="528"/>
                </a:lnTo>
                <a:lnTo>
                  <a:pt x="3502" y="506"/>
                </a:lnTo>
                <a:lnTo>
                  <a:pt x="3514" y="483"/>
                </a:lnTo>
                <a:lnTo>
                  <a:pt x="3524" y="459"/>
                </a:lnTo>
                <a:lnTo>
                  <a:pt x="3531" y="435"/>
                </a:lnTo>
                <a:lnTo>
                  <a:pt x="3537" y="410"/>
                </a:lnTo>
                <a:lnTo>
                  <a:pt x="3540" y="385"/>
                </a:lnTo>
                <a:lnTo>
                  <a:pt x="3541" y="358"/>
                </a:lnTo>
                <a:lnTo>
                  <a:pt x="3540" y="344"/>
                </a:lnTo>
                <a:lnTo>
                  <a:pt x="3539" y="328"/>
                </a:lnTo>
                <a:lnTo>
                  <a:pt x="3538" y="314"/>
                </a:lnTo>
                <a:lnTo>
                  <a:pt x="3535" y="299"/>
                </a:lnTo>
                <a:lnTo>
                  <a:pt x="3531" y="285"/>
                </a:lnTo>
                <a:lnTo>
                  <a:pt x="3528" y="271"/>
                </a:lnTo>
                <a:lnTo>
                  <a:pt x="3522" y="257"/>
                </a:lnTo>
                <a:lnTo>
                  <a:pt x="3518" y="244"/>
                </a:lnTo>
                <a:lnTo>
                  <a:pt x="3511" y="231"/>
                </a:lnTo>
                <a:lnTo>
                  <a:pt x="3505" y="217"/>
                </a:lnTo>
                <a:lnTo>
                  <a:pt x="3498" y="205"/>
                </a:lnTo>
                <a:lnTo>
                  <a:pt x="3490" y="193"/>
                </a:lnTo>
                <a:lnTo>
                  <a:pt x="3481" y="182"/>
                </a:lnTo>
                <a:lnTo>
                  <a:pt x="3473" y="170"/>
                </a:lnTo>
                <a:lnTo>
                  <a:pt x="3464" y="160"/>
                </a:lnTo>
                <a:lnTo>
                  <a:pt x="3454" y="149"/>
                </a:lnTo>
                <a:lnTo>
                  <a:pt x="3444" y="139"/>
                </a:lnTo>
                <a:lnTo>
                  <a:pt x="3433" y="130"/>
                </a:lnTo>
                <a:lnTo>
                  <a:pt x="3422" y="121"/>
                </a:lnTo>
                <a:lnTo>
                  <a:pt x="3410" y="112"/>
                </a:lnTo>
                <a:lnTo>
                  <a:pt x="3398" y="104"/>
                </a:lnTo>
                <a:lnTo>
                  <a:pt x="3386" y="98"/>
                </a:lnTo>
                <a:lnTo>
                  <a:pt x="3373" y="91"/>
                </a:lnTo>
                <a:lnTo>
                  <a:pt x="3359" y="84"/>
                </a:lnTo>
                <a:lnTo>
                  <a:pt x="3346" y="80"/>
                </a:lnTo>
                <a:lnTo>
                  <a:pt x="3333" y="74"/>
                </a:lnTo>
                <a:lnTo>
                  <a:pt x="3318" y="71"/>
                </a:lnTo>
                <a:lnTo>
                  <a:pt x="3304" y="68"/>
                </a:lnTo>
                <a:lnTo>
                  <a:pt x="3289" y="64"/>
                </a:lnTo>
                <a:lnTo>
                  <a:pt x="3275" y="63"/>
                </a:lnTo>
                <a:lnTo>
                  <a:pt x="3261" y="62"/>
                </a:lnTo>
                <a:lnTo>
                  <a:pt x="3245" y="61"/>
                </a:lnTo>
                <a:lnTo>
                  <a:pt x="3230" y="62"/>
                </a:lnTo>
                <a:lnTo>
                  <a:pt x="3215" y="63"/>
                </a:lnTo>
                <a:lnTo>
                  <a:pt x="3201" y="64"/>
                </a:lnTo>
                <a:lnTo>
                  <a:pt x="3185" y="68"/>
                </a:lnTo>
                <a:lnTo>
                  <a:pt x="3172" y="71"/>
                </a:lnTo>
                <a:lnTo>
                  <a:pt x="3157" y="74"/>
                </a:lnTo>
                <a:lnTo>
                  <a:pt x="3144" y="80"/>
                </a:lnTo>
                <a:lnTo>
                  <a:pt x="3130" y="84"/>
                </a:lnTo>
                <a:lnTo>
                  <a:pt x="3118" y="91"/>
                </a:lnTo>
                <a:lnTo>
                  <a:pt x="3104" y="98"/>
                </a:lnTo>
                <a:lnTo>
                  <a:pt x="3092" y="104"/>
                </a:lnTo>
                <a:lnTo>
                  <a:pt x="3080" y="112"/>
                </a:lnTo>
                <a:lnTo>
                  <a:pt x="3069" y="121"/>
                </a:lnTo>
                <a:lnTo>
                  <a:pt x="3058" y="130"/>
                </a:lnTo>
                <a:lnTo>
                  <a:pt x="3047" y="139"/>
                </a:lnTo>
                <a:lnTo>
                  <a:pt x="3037" y="149"/>
                </a:lnTo>
                <a:lnTo>
                  <a:pt x="3027" y="160"/>
                </a:lnTo>
                <a:lnTo>
                  <a:pt x="3017" y="170"/>
                </a:lnTo>
                <a:lnTo>
                  <a:pt x="3008" y="182"/>
                </a:lnTo>
                <a:lnTo>
                  <a:pt x="3000" y="193"/>
                </a:lnTo>
                <a:lnTo>
                  <a:pt x="2992" y="205"/>
                </a:lnTo>
                <a:lnTo>
                  <a:pt x="2985" y="217"/>
                </a:lnTo>
                <a:lnTo>
                  <a:pt x="2979" y="231"/>
                </a:lnTo>
                <a:lnTo>
                  <a:pt x="2972" y="244"/>
                </a:lnTo>
                <a:lnTo>
                  <a:pt x="2967" y="257"/>
                </a:lnTo>
                <a:lnTo>
                  <a:pt x="2962" y="271"/>
                </a:lnTo>
                <a:lnTo>
                  <a:pt x="2959" y="285"/>
                </a:lnTo>
                <a:lnTo>
                  <a:pt x="2956" y="299"/>
                </a:lnTo>
                <a:lnTo>
                  <a:pt x="2952" y="314"/>
                </a:lnTo>
                <a:lnTo>
                  <a:pt x="2951" y="328"/>
                </a:lnTo>
                <a:lnTo>
                  <a:pt x="2949" y="344"/>
                </a:lnTo>
                <a:lnTo>
                  <a:pt x="2949" y="358"/>
                </a:lnTo>
                <a:lnTo>
                  <a:pt x="2950" y="385"/>
                </a:lnTo>
                <a:lnTo>
                  <a:pt x="2953" y="410"/>
                </a:lnTo>
                <a:lnTo>
                  <a:pt x="2959" y="435"/>
                </a:lnTo>
                <a:lnTo>
                  <a:pt x="2967" y="459"/>
                </a:lnTo>
                <a:lnTo>
                  <a:pt x="2976" y="483"/>
                </a:lnTo>
                <a:lnTo>
                  <a:pt x="2988" y="506"/>
                </a:lnTo>
                <a:lnTo>
                  <a:pt x="3001" y="528"/>
                </a:lnTo>
                <a:lnTo>
                  <a:pt x="3017" y="548"/>
                </a:lnTo>
                <a:lnTo>
                  <a:pt x="2969" y="595"/>
                </a:lnTo>
                <a:lnTo>
                  <a:pt x="2959" y="583"/>
                </a:lnTo>
                <a:lnTo>
                  <a:pt x="2950" y="570"/>
                </a:lnTo>
                <a:lnTo>
                  <a:pt x="2941" y="557"/>
                </a:lnTo>
                <a:lnTo>
                  <a:pt x="2932" y="543"/>
                </a:lnTo>
                <a:lnTo>
                  <a:pt x="2924" y="530"/>
                </a:lnTo>
                <a:lnTo>
                  <a:pt x="2917" y="516"/>
                </a:lnTo>
                <a:lnTo>
                  <a:pt x="2910" y="501"/>
                </a:lnTo>
                <a:lnTo>
                  <a:pt x="2905" y="487"/>
                </a:lnTo>
                <a:lnTo>
                  <a:pt x="2899" y="471"/>
                </a:lnTo>
                <a:lnTo>
                  <a:pt x="2895" y="456"/>
                </a:lnTo>
                <a:lnTo>
                  <a:pt x="2890" y="440"/>
                </a:lnTo>
                <a:lnTo>
                  <a:pt x="2887" y="425"/>
                </a:lnTo>
                <a:lnTo>
                  <a:pt x="2885" y="408"/>
                </a:lnTo>
                <a:lnTo>
                  <a:pt x="2882" y="393"/>
                </a:lnTo>
                <a:lnTo>
                  <a:pt x="2881" y="376"/>
                </a:lnTo>
                <a:lnTo>
                  <a:pt x="2881" y="358"/>
                </a:lnTo>
                <a:close/>
                <a:moveTo>
                  <a:pt x="2569" y="472"/>
                </a:moveTo>
                <a:lnTo>
                  <a:pt x="2569" y="248"/>
                </a:lnTo>
                <a:lnTo>
                  <a:pt x="2630" y="248"/>
                </a:lnTo>
                <a:lnTo>
                  <a:pt x="2630" y="421"/>
                </a:lnTo>
                <a:lnTo>
                  <a:pt x="2733" y="421"/>
                </a:lnTo>
                <a:lnTo>
                  <a:pt x="2733" y="472"/>
                </a:lnTo>
                <a:lnTo>
                  <a:pt x="2569" y="472"/>
                </a:lnTo>
                <a:close/>
                <a:moveTo>
                  <a:pt x="2359" y="472"/>
                </a:moveTo>
                <a:lnTo>
                  <a:pt x="2525" y="472"/>
                </a:lnTo>
                <a:lnTo>
                  <a:pt x="2525" y="421"/>
                </a:lnTo>
                <a:lnTo>
                  <a:pt x="2415" y="421"/>
                </a:lnTo>
                <a:lnTo>
                  <a:pt x="2415" y="383"/>
                </a:lnTo>
                <a:lnTo>
                  <a:pt x="2506" y="383"/>
                </a:lnTo>
                <a:lnTo>
                  <a:pt x="2506" y="336"/>
                </a:lnTo>
                <a:lnTo>
                  <a:pt x="2415" y="336"/>
                </a:lnTo>
                <a:lnTo>
                  <a:pt x="2415" y="297"/>
                </a:lnTo>
                <a:lnTo>
                  <a:pt x="2520" y="297"/>
                </a:lnTo>
                <a:lnTo>
                  <a:pt x="2520" y="248"/>
                </a:lnTo>
                <a:lnTo>
                  <a:pt x="2359" y="248"/>
                </a:lnTo>
                <a:lnTo>
                  <a:pt x="2359" y="472"/>
                </a:lnTo>
                <a:close/>
                <a:moveTo>
                  <a:pt x="2102" y="360"/>
                </a:moveTo>
                <a:lnTo>
                  <a:pt x="2102" y="360"/>
                </a:lnTo>
                <a:lnTo>
                  <a:pt x="2102" y="347"/>
                </a:lnTo>
                <a:lnTo>
                  <a:pt x="2105" y="335"/>
                </a:lnTo>
                <a:lnTo>
                  <a:pt x="2107" y="324"/>
                </a:lnTo>
                <a:lnTo>
                  <a:pt x="2110" y="313"/>
                </a:lnTo>
                <a:lnTo>
                  <a:pt x="2115" y="302"/>
                </a:lnTo>
                <a:lnTo>
                  <a:pt x="2119" y="292"/>
                </a:lnTo>
                <a:lnTo>
                  <a:pt x="2125" y="283"/>
                </a:lnTo>
                <a:lnTo>
                  <a:pt x="2132" y="275"/>
                </a:lnTo>
                <a:lnTo>
                  <a:pt x="2139" y="267"/>
                </a:lnTo>
                <a:lnTo>
                  <a:pt x="2148" y="261"/>
                </a:lnTo>
                <a:lnTo>
                  <a:pt x="2157" y="255"/>
                </a:lnTo>
                <a:lnTo>
                  <a:pt x="2167" y="251"/>
                </a:lnTo>
                <a:lnTo>
                  <a:pt x="2177" y="246"/>
                </a:lnTo>
                <a:lnTo>
                  <a:pt x="2188" y="244"/>
                </a:lnTo>
                <a:lnTo>
                  <a:pt x="2200" y="242"/>
                </a:lnTo>
                <a:lnTo>
                  <a:pt x="2212" y="242"/>
                </a:lnTo>
                <a:lnTo>
                  <a:pt x="2231" y="243"/>
                </a:lnTo>
                <a:lnTo>
                  <a:pt x="2239" y="244"/>
                </a:lnTo>
                <a:lnTo>
                  <a:pt x="2248" y="246"/>
                </a:lnTo>
                <a:lnTo>
                  <a:pt x="2255" y="250"/>
                </a:lnTo>
                <a:lnTo>
                  <a:pt x="2263" y="253"/>
                </a:lnTo>
                <a:lnTo>
                  <a:pt x="2271" y="256"/>
                </a:lnTo>
                <a:lnTo>
                  <a:pt x="2278" y="261"/>
                </a:lnTo>
                <a:lnTo>
                  <a:pt x="2283" y="266"/>
                </a:lnTo>
                <a:lnTo>
                  <a:pt x="2289" y="272"/>
                </a:lnTo>
                <a:lnTo>
                  <a:pt x="2294" y="278"/>
                </a:lnTo>
                <a:lnTo>
                  <a:pt x="2299" y="285"/>
                </a:lnTo>
                <a:lnTo>
                  <a:pt x="2303" y="293"/>
                </a:lnTo>
                <a:lnTo>
                  <a:pt x="2307" y="301"/>
                </a:lnTo>
                <a:lnTo>
                  <a:pt x="2309" y="309"/>
                </a:lnTo>
                <a:lnTo>
                  <a:pt x="2311" y="318"/>
                </a:lnTo>
                <a:lnTo>
                  <a:pt x="2251" y="318"/>
                </a:lnTo>
                <a:lnTo>
                  <a:pt x="2249" y="310"/>
                </a:lnTo>
                <a:lnTo>
                  <a:pt x="2246" y="305"/>
                </a:lnTo>
                <a:lnTo>
                  <a:pt x="2241" y="301"/>
                </a:lnTo>
                <a:lnTo>
                  <a:pt x="2237" y="296"/>
                </a:lnTo>
                <a:lnTo>
                  <a:pt x="2231" y="294"/>
                </a:lnTo>
                <a:lnTo>
                  <a:pt x="2226" y="292"/>
                </a:lnTo>
                <a:lnTo>
                  <a:pt x="2220" y="292"/>
                </a:lnTo>
                <a:lnTo>
                  <a:pt x="2213" y="291"/>
                </a:lnTo>
                <a:lnTo>
                  <a:pt x="2207" y="292"/>
                </a:lnTo>
                <a:lnTo>
                  <a:pt x="2201" y="293"/>
                </a:lnTo>
                <a:lnTo>
                  <a:pt x="2196" y="294"/>
                </a:lnTo>
                <a:lnTo>
                  <a:pt x="2191" y="296"/>
                </a:lnTo>
                <a:lnTo>
                  <a:pt x="2187" y="299"/>
                </a:lnTo>
                <a:lnTo>
                  <a:pt x="2182" y="303"/>
                </a:lnTo>
                <a:lnTo>
                  <a:pt x="2174" y="312"/>
                </a:lnTo>
                <a:lnTo>
                  <a:pt x="2169" y="322"/>
                </a:lnTo>
                <a:lnTo>
                  <a:pt x="2166" y="333"/>
                </a:lnTo>
                <a:lnTo>
                  <a:pt x="2163" y="346"/>
                </a:lnTo>
                <a:lnTo>
                  <a:pt x="2162" y="360"/>
                </a:lnTo>
                <a:lnTo>
                  <a:pt x="2163" y="375"/>
                </a:lnTo>
                <a:lnTo>
                  <a:pt x="2166" y="388"/>
                </a:lnTo>
                <a:lnTo>
                  <a:pt x="2170" y="400"/>
                </a:lnTo>
                <a:lnTo>
                  <a:pt x="2176" y="410"/>
                </a:lnTo>
                <a:lnTo>
                  <a:pt x="2183" y="419"/>
                </a:lnTo>
                <a:lnTo>
                  <a:pt x="2188" y="422"/>
                </a:lnTo>
                <a:lnTo>
                  <a:pt x="2192" y="426"/>
                </a:lnTo>
                <a:lnTo>
                  <a:pt x="2198" y="428"/>
                </a:lnTo>
                <a:lnTo>
                  <a:pt x="2203" y="430"/>
                </a:lnTo>
                <a:lnTo>
                  <a:pt x="2210" y="430"/>
                </a:lnTo>
                <a:lnTo>
                  <a:pt x="2217" y="431"/>
                </a:lnTo>
                <a:lnTo>
                  <a:pt x="2228" y="430"/>
                </a:lnTo>
                <a:lnTo>
                  <a:pt x="2238" y="428"/>
                </a:lnTo>
                <a:lnTo>
                  <a:pt x="2247" y="425"/>
                </a:lnTo>
                <a:lnTo>
                  <a:pt x="2254" y="420"/>
                </a:lnTo>
                <a:lnTo>
                  <a:pt x="2254" y="391"/>
                </a:lnTo>
                <a:lnTo>
                  <a:pt x="2214" y="391"/>
                </a:lnTo>
                <a:lnTo>
                  <a:pt x="2214" y="347"/>
                </a:lnTo>
                <a:lnTo>
                  <a:pt x="2311" y="347"/>
                </a:lnTo>
                <a:lnTo>
                  <a:pt x="2311" y="448"/>
                </a:lnTo>
                <a:lnTo>
                  <a:pt x="2300" y="456"/>
                </a:lnTo>
                <a:lnTo>
                  <a:pt x="2289" y="462"/>
                </a:lnTo>
                <a:lnTo>
                  <a:pt x="2277" y="468"/>
                </a:lnTo>
                <a:lnTo>
                  <a:pt x="2264" y="472"/>
                </a:lnTo>
                <a:lnTo>
                  <a:pt x="2253" y="476"/>
                </a:lnTo>
                <a:lnTo>
                  <a:pt x="2241" y="479"/>
                </a:lnTo>
                <a:lnTo>
                  <a:pt x="2230" y="480"/>
                </a:lnTo>
                <a:lnTo>
                  <a:pt x="2220" y="480"/>
                </a:lnTo>
                <a:lnTo>
                  <a:pt x="2207" y="480"/>
                </a:lnTo>
                <a:lnTo>
                  <a:pt x="2193" y="478"/>
                </a:lnTo>
                <a:lnTo>
                  <a:pt x="2181" y="476"/>
                </a:lnTo>
                <a:lnTo>
                  <a:pt x="2170" y="472"/>
                </a:lnTo>
                <a:lnTo>
                  <a:pt x="2159" y="468"/>
                </a:lnTo>
                <a:lnTo>
                  <a:pt x="2150" y="462"/>
                </a:lnTo>
                <a:lnTo>
                  <a:pt x="2141" y="456"/>
                </a:lnTo>
                <a:lnTo>
                  <a:pt x="2132" y="449"/>
                </a:lnTo>
                <a:lnTo>
                  <a:pt x="2126" y="440"/>
                </a:lnTo>
                <a:lnTo>
                  <a:pt x="2119" y="431"/>
                </a:lnTo>
                <a:lnTo>
                  <a:pt x="2115" y="421"/>
                </a:lnTo>
                <a:lnTo>
                  <a:pt x="2110" y="411"/>
                </a:lnTo>
                <a:lnTo>
                  <a:pt x="2107" y="399"/>
                </a:lnTo>
                <a:lnTo>
                  <a:pt x="2105" y="387"/>
                </a:lnTo>
                <a:lnTo>
                  <a:pt x="2102" y="374"/>
                </a:lnTo>
                <a:lnTo>
                  <a:pt x="2102" y="360"/>
                </a:lnTo>
                <a:close/>
                <a:moveTo>
                  <a:pt x="1945" y="393"/>
                </a:moveTo>
                <a:lnTo>
                  <a:pt x="1974" y="307"/>
                </a:lnTo>
                <a:lnTo>
                  <a:pt x="2004" y="393"/>
                </a:lnTo>
                <a:lnTo>
                  <a:pt x="1945" y="393"/>
                </a:lnTo>
                <a:close/>
                <a:moveTo>
                  <a:pt x="1857" y="472"/>
                </a:moveTo>
                <a:lnTo>
                  <a:pt x="1918" y="472"/>
                </a:lnTo>
                <a:lnTo>
                  <a:pt x="1929" y="439"/>
                </a:lnTo>
                <a:lnTo>
                  <a:pt x="2019" y="439"/>
                </a:lnTo>
                <a:lnTo>
                  <a:pt x="2030" y="472"/>
                </a:lnTo>
                <a:lnTo>
                  <a:pt x="2091" y="472"/>
                </a:lnTo>
                <a:lnTo>
                  <a:pt x="2006" y="248"/>
                </a:lnTo>
                <a:lnTo>
                  <a:pt x="1942" y="248"/>
                </a:lnTo>
                <a:lnTo>
                  <a:pt x="1857" y="472"/>
                </a:lnTo>
                <a:close/>
                <a:moveTo>
                  <a:pt x="1632" y="472"/>
                </a:moveTo>
                <a:lnTo>
                  <a:pt x="1687" y="472"/>
                </a:lnTo>
                <a:lnTo>
                  <a:pt x="1687" y="338"/>
                </a:lnTo>
                <a:lnTo>
                  <a:pt x="1766" y="472"/>
                </a:lnTo>
                <a:lnTo>
                  <a:pt x="1828" y="472"/>
                </a:lnTo>
                <a:lnTo>
                  <a:pt x="1828" y="248"/>
                </a:lnTo>
                <a:lnTo>
                  <a:pt x="1773" y="248"/>
                </a:lnTo>
                <a:lnTo>
                  <a:pt x="1773" y="380"/>
                </a:lnTo>
                <a:lnTo>
                  <a:pt x="1692" y="248"/>
                </a:lnTo>
                <a:lnTo>
                  <a:pt x="1632" y="248"/>
                </a:lnTo>
                <a:lnTo>
                  <a:pt x="1632" y="472"/>
                </a:lnTo>
                <a:close/>
                <a:moveTo>
                  <a:pt x="1378" y="383"/>
                </a:moveTo>
                <a:lnTo>
                  <a:pt x="1378" y="354"/>
                </a:lnTo>
                <a:lnTo>
                  <a:pt x="1468" y="354"/>
                </a:lnTo>
                <a:lnTo>
                  <a:pt x="1468" y="263"/>
                </a:lnTo>
                <a:lnTo>
                  <a:pt x="1501" y="263"/>
                </a:lnTo>
                <a:lnTo>
                  <a:pt x="1501" y="354"/>
                </a:lnTo>
                <a:lnTo>
                  <a:pt x="1592" y="354"/>
                </a:lnTo>
                <a:lnTo>
                  <a:pt x="1592" y="383"/>
                </a:lnTo>
                <a:lnTo>
                  <a:pt x="1501" y="383"/>
                </a:lnTo>
                <a:lnTo>
                  <a:pt x="1501" y="472"/>
                </a:lnTo>
                <a:lnTo>
                  <a:pt x="1468" y="472"/>
                </a:lnTo>
                <a:lnTo>
                  <a:pt x="1468" y="383"/>
                </a:lnTo>
                <a:lnTo>
                  <a:pt x="1378" y="383"/>
                </a:lnTo>
                <a:close/>
                <a:moveTo>
                  <a:pt x="1185" y="472"/>
                </a:moveTo>
                <a:lnTo>
                  <a:pt x="1351" y="472"/>
                </a:lnTo>
                <a:lnTo>
                  <a:pt x="1351" y="421"/>
                </a:lnTo>
                <a:lnTo>
                  <a:pt x="1241" y="421"/>
                </a:lnTo>
                <a:lnTo>
                  <a:pt x="1241" y="383"/>
                </a:lnTo>
                <a:lnTo>
                  <a:pt x="1332" y="383"/>
                </a:lnTo>
                <a:lnTo>
                  <a:pt x="1332" y="336"/>
                </a:lnTo>
                <a:lnTo>
                  <a:pt x="1241" y="336"/>
                </a:lnTo>
                <a:lnTo>
                  <a:pt x="1241" y="297"/>
                </a:lnTo>
                <a:lnTo>
                  <a:pt x="1346" y="297"/>
                </a:lnTo>
                <a:lnTo>
                  <a:pt x="1346" y="248"/>
                </a:lnTo>
                <a:lnTo>
                  <a:pt x="1185" y="248"/>
                </a:lnTo>
                <a:lnTo>
                  <a:pt x="1185" y="472"/>
                </a:lnTo>
                <a:close/>
                <a:moveTo>
                  <a:pt x="934" y="472"/>
                </a:moveTo>
                <a:lnTo>
                  <a:pt x="990" y="472"/>
                </a:lnTo>
                <a:lnTo>
                  <a:pt x="990" y="338"/>
                </a:lnTo>
                <a:lnTo>
                  <a:pt x="1068" y="472"/>
                </a:lnTo>
                <a:lnTo>
                  <a:pt x="1132" y="472"/>
                </a:lnTo>
                <a:lnTo>
                  <a:pt x="1132" y="248"/>
                </a:lnTo>
                <a:lnTo>
                  <a:pt x="1075" y="248"/>
                </a:lnTo>
                <a:lnTo>
                  <a:pt x="1075" y="380"/>
                </a:lnTo>
                <a:lnTo>
                  <a:pt x="995" y="248"/>
                </a:lnTo>
                <a:lnTo>
                  <a:pt x="934" y="248"/>
                </a:lnTo>
                <a:lnTo>
                  <a:pt x="934" y="472"/>
                </a:lnTo>
                <a:close/>
                <a:moveTo>
                  <a:pt x="681" y="472"/>
                </a:moveTo>
                <a:lnTo>
                  <a:pt x="740" y="472"/>
                </a:lnTo>
                <a:lnTo>
                  <a:pt x="740" y="386"/>
                </a:lnTo>
                <a:lnTo>
                  <a:pt x="821" y="386"/>
                </a:lnTo>
                <a:lnTo>
                  <a:pt x="821" y="472"/>
                </a:lnTo>
                <a:lnTo>
                  <a:pt x="881" y="472"/>
                </a:lnTo>
                <a:lnTo>
                  <a:pt x="881" y="248"/>
                </a:lnTo>
                <a:lnTo>
                  <a:pt x="821" y="248"/>
                </a:lnTo>
                <a:lnTo>
                  <a:pt x="821" y="333"/>
                </a:lnTo>
                <a:lnTo>
                  <a:pt x="740" y="333"/>
                </a:lnTo>
                <a:lnTo>
                  <a:pt x="740" y="248"/>
                </a:lnTo>
                <a:lnTo>
                  <a:pt x="681" y="248"/>
                </a:lnTo>
                <a:lnTo>
                  <a:pt x="681" y="472"/>
                </a:lnTo>
                <a:close/>
                <a:moveTo>
                  <a:pt x="469" y="472"/>
                </a:moveTo>
                <a:lnTo>
                  <a:pt x="636" y="472"/>
                </a:lnTo>
                <a:lnTo>
                  <a:pt x="636" y="421"/>
                </a:lnTo>
                <a:lnTo>
                  <a:pt x="526" y="421"/>
                </a:lnTo>
                <a:lnTo>
                  <a:pt x="526" y="383"/>
                </a:lnTo>
                <a:lnTo>
                  <a:pt x="617" y="383"/>
                </a:lnTo>
                <a:lnTo>
                  <a:pt x="617" y="336"/>
                </a:lnTo>
                <a:lnTo>
                  <a:pt x="526" y="336"/>
                </a:lnTo>
                <a:lnTo>
                  <a:pt x="526" y="297"/>
                </a:lnTo>
                <a:lnTo>
                  <a:pt x="630" y="297"/>
                </a:lnTo>
                <a:lnTo>
                  <a:pt x="630" y="248"/>
                </a:lnTo>
                <a:lnTo>
                  <a:pt x="469" y="248"/>
                </a:lnTo>
                <a:lnTo>
                  <a:pt x="469" y="472"/>
                </a:lnTo>
                <a:close/>
                <a:moveTo>
                  <a:pt x="222" y="380"/>
                </a:moveTo>
                <a:lnTo>
                  <a:pt x="222" y="380"/>
                </a:lnTo>
                <a:lnTo>
                  <a:pt x="222" y="394"/>
                </a:lnTo>
                <a:lnTo>
                  <a:pt x="224" y="406"/>
                </a:lnTo>
                <a:lnTo>
                  <a:pt x="226" y="417"/>
                </a:lnTo>
                <a:lnTo>
                  <a:pt x="230" y="427"/>
                </a:lnTo>
                <a:lnTo>
                  <a:pt x="234" y="436"/>
                </a:lnTo>
                <a:lnTo>
                  <a:pt x="239" y="444"/>
                </a:lnTo>
                <a:lnTo>
                  <a:pt x="245" y="451"/>
                </a:lnTo>
                <a:lnTo>
                  <a:pt x="251" y="458"/>
                </a:lnTo>
                <a:lnTo>
                  <a:pt x="258" y="464"/>
                </a:lnTo>
                <a:lnTo>
                  <a:pt x="266" y="468"/>
                </a:lnTo>
                <a:lnTo>
                  <a:pt x="274" y="471"/>
                </a:lnTo>
                <a:lnTo>
                  <a:pt x="283" y="475"/>
                </a:lnTo>
                <a:lnTo>
                  <a:pt x="292" y="478"/>
                </a:lnTo>
                <a:lnTo>
                  <a:pt x="301" y="479"/>
                </a:lnTo>
                <a:lnTo>
                  <a:pt x="311" y="480"/>
                </a:lnTo>
                <a:lnTo>
                  <a:pt x="321" y="480"/>
                </a:lnTo>
                <a:lnTo>
                  <a:pt x="330" y="480"/>
                </a:lnTo>
                <a:lnTo>
                  <a:pt x="339" y="479"/>
                </a:lnTo>
                <a:lnTo>
                  <a:pt x="348" y="478"/>
                </a:lnTo>
                <a:lnTo>
                  <a:pt x="357" y="475"/>
                </a:lnTo>
                <a:lnTo>
                  <a:pt x="366" y="471"/>
                </a:lnTo>
                <a:lnTo>
                  <a:pt x="374" y="468"/>
                </a:lnTo>
                <a:lnTo>
                  <a:pt x="382" y="464"/>
                </a:lnTo>
                <a:lnTo>
                  <a:pt x="388" y="458"/>
                </a:lnTo>
                <a:lnTo>
                  <a:pt x="395" y="451"/>
                </a:lnTo>
                <a:lnTo>
                  <a:pt x="401" y="444"/>
                </a:lnTo>
                <a:lnTo>
                  <a:pt x="406" y="436"/>
                </a:lnTo>
                <a:lnTo>
                  <a:pt x="409" y="427"/>
                </a:lnTo>
                <a:lnTo>
                  <a:pt x="414" y="417"/>
                </a:lnTo>
                <a:lnTo>
                  <a:pt x="416" y="406"/>
                </a:lnTo>
                <a:lnTo>
                  <a:pt x="417" y="394"/>
                </a:lnTo>
                <a:lnTo>
                  <a:pt x="418" y="380"/>
                </a:lnTo>
                <a:lnTo>
                  <a:pt x="418" y="248"/>
                </a:lnTo>
                <a:lnTo>
                  <a:pt x="357" y="248"/>
                </a:lnTo>
                <a:lnTo>
                  <a:pt x="357" y="389"/>
                </a:lnTo>
                <a:lnTo>
                  <a:pt x="356" y="398"/>
                </a:lnTo>
                <a:lnTo>
                  <a:pt x="355" y="407"/>
                </a:lnTo>
                <a:lnTo>
                  <a:pt x="352" y="414"/>
                </a:lnTo>
                <a:lnTo>
                  <a:pt x="348" y="419"/>
                </a:lnTo>
                <a:lnTo>
                  <a:pt x="343" y="424"/>
                </a:lnTo>
                <a:lnTo>
                  <a:pt x="336" y="427"/>
                </a:lnTo>
                <a:lnTo>
                  <a:pt x="328" y="429"/>
                </a:lnTo>
                <a:lnTo>
                  <a:pt x="321" y="429"/>
                </a:lnTo>
                <a:lnTo>
                  <a:pt x="312" y="429"/>
                </a:lnTo>
                <a:lnTo>
                  <a:pt x="304" y="427"/>
                </a:lnTo>
                <a:lnTo>
                  <a:pt x="297" y="424"/>
                </a:lnTo>
                <a:lnTo>
                  <a:pt x="292" y="419"/>
                </a:lnTo>
                <a:lnTo>
                  <a:pt x="287" y="414"/>
                </a:lnTo>
                <a:lnTo>
                  <a:pt x="285" y="407"/>
                </a:lnTo>
                <a:lnTo>
                  <a:pt x="283" y="398"/>
                </a:lnTo>
                <a:lnTo>
                  <a:pt x="283" y="389"/>
                </a:lnTo>
                <a:lnTo>
                  <a:pt x="283" y="248"/>
                </a:lnTo>
                <a:lnTo>
                  <a:pt x="222" y="248"/>
                </a:lnTo>
                <a:lnTo>
                  <a:pt x="222" y="380"/>
                </a:lnTo>
                <a:close/>
                <a:moveTo>
                  <a:pt x="0" y="472"/>
                </a:moveTo>
                <a:lnTo>
                  <a:pt x="60" y="472"/>
                </a:lnTo>
                <a:lnTo>
                  <a:pt x="60" y="409"/>
                </a:lnTo>
                <a:lnTo>
                  <a:pt x="80" y="384"/>
                </a:lnTo>
                <a:lnTo>
                  <a:pt x="131" y="472"/>
                </a:lnTo>
                <a:lnTo>
                  <a:pt x="201" y="472"/>
                </a:lnTo>
                <a:lnTo>
                  <a:pt x="120" y="340"/>
                </a:lnTo>
                <a:lnTo>
                  <a:pt x="192" y="248"/>
                </a:lnTo>
                <a:lnTo>
                  <a:pt x="122" y="248"/>
                </a:lnTo>
                <a:lnTo>
                  <a:pt x="60" y="328"/>
                </a:lnTo>
                <a:lnTo>
                  <a:pt x="60" y="248"/>
                </a:lnTo>
                <a:lnTo>
                  <a:pt x="0" y="248"/>
                </a:lnTo>
                <a:lnTo>
                  <a:pt x="0" y="472"/>
                </a:lnTo>
                <a:close/>
              </a:path>
            </a:pathLst>
          </a:custGeom>
          <a:solidFill>
            <a:srgbClr val="1D3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Text Placeholder 2"/>
          <p:cNvSpPr>
            <a:spLocks noGrp="1"/>
          </p:cNvSpPr>
          <p:nvPr>
            <p:ph type="body" sz="quarter" idx="14"/>
          </p:nvPr>
        </p:nvSpPr>
        <p:spPr>
          <a:xfrm>
            <a:off x="550864" y="1989139"/>
            <a:ext cx="2773362" cy="4321174"/>
          </a:xfrm>
          <a:prstGeom prst="rect">
            <a:avLst/>
          </a:prstGeom>
        </p:spPr>
        <p:txBody>
          <a:bodyPr>
            <a:noAutofit/>
          </a:bodyPr>
          <a:lstStyle>
            <a:lvl1pPr marL="0" indent="0">
              <a:lnSpc>
                <a:spcPct val="113000"/>
              </a:lnSpc>
              <a:spcBef>
                <a:spcPts val="0"/>
              </a:spcBef>
              <a:spcAft>
                <a:spcPts val="1200"/>
              </a:spcAft>
              <a:buNone/>
              <a:defRPr sz="1800" b="0" baseline="0">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0" name="Titel 4"/>
          <p:cNvSpPr>
            <a:spLocks noGrp="1"/>
          </p:cNvSpPr>
          <p:nvPr>
            <p:ph type="title"/>
          </p:nvPr>
        </p:nvSpPr>
        <p:spPr>
          <a:xfrm>
            <a:off x="553321" y="550779"/>
            <a:ext cx="2770905" cy="1438360"/>
          </a:xfrm>
        </p:spPr>
        <p:txBody>
          <a:bodyPr/>
          <a:lstStyle/>
          <a:p>
            <a:pPr lvl="0"/>
            <a:r>
              <a:rPr lang="en-US" noProof="0"/>
              <a:t>Click to edit Master title style</a:t>
            </a:r>
            <a:endParaRPr lang="de-DE" dirty="0"/>
          </a:p>
        </p:txBody>
      </p:sp>
      <p:sp>
        <p:nvSpPr>
          <p:cNvPr id="11" name="Text Placeholder 2"/>
          <p:cNvSpPr>
            <a:spLocks noGrp="1"/>
          </p:cNvSpPr>
          <p:nvPr>
            <p:ph type="body" sz="quarter" idx="15"/>
          </p:nvPr>
        </p:nvSpPr>
        <p:spPr>
          <a:xfrm>
            <a:off x="4710225" y="1717003"/>
            <a:ext cx="5535490" cy="337383"/>
          </a:xfrm>
          <a:prstGeom prst="rect">
            <a:avLst/>
          </a:prstGeom>
        </p:spPr>
        <p:txBody>
          <a:bodyPr>
            <a:noAutofit/>
          </a:bodyPr>
          <a:lstStyle>
            <a:lvl1pPr marL="0" indent="0">
              <a:lnSpc>
                <a:spcPct val="100000"/>
              </a:lnSpc>
              <a:spcBef>
                <a:spcPts val="0"/>
              </a:spcBef>
              <a:buNone/>
              <a:defRPr sz="1800" b="1" baseline="0">
                <a:solidFill>
                  <a:srgbClr val="000000"/>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2" name="Picture Placeholder 5"/>
          <p:cNvSpPr>
            <a:spLocks noGrp="1"/>
          </p:cNvSpPr>
          <p:nvPr>
            <p:ph type="pic" sz="quarter" idx="13"/>
          </p:nvPr>
        </p:nvSpPr>
        <p:spPr>
          <a:xfrm>
            <a:off x="5209050" y="224782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13" name="Picture Placeholder 5"/>
          <p:cNvSpPr>
            <a:spLocks noGrp="1"/>
          </p:cNvSpPr>
          <p:nvPr>
            <p:ph type="pic" sz="quarter" idx="17"/>
          </p:nvPr>
        </p:nvSpPr>
        <p:spPr>
          <a:xfrm>
            <a:off x="6660086" y="224782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14" name="Picture Placeholder 5"/>
          <p:cNvSpPr>
            <a:spLocks noGrp="1"/>
          </p:cNvSpPr>
          <p:nvPr>
            <p:ph type="pic" sz="quarter" idx="18"/>
          </p:nvPr>
        </p:nvSpPr>
        <p:spPr>
          <a:xfrm>
            <a:off x="8111122" y="224782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15" name="Picture Placeholder 5"/>
          <p:cNvSpPr>
            <a:spLocks noGrp="1"/>
          </p:cNvSpPr>
          <p:nvPr>
            <p:ph type="pic" sz="quarter" idx="19"/>
          </p:nvPr>
        </p:nvSpPr>
        <p:spPr>
          <a:xfrm>
            <a:off x="9562158" y="224782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16" name="Picture Placeholder 5"/>
          <p:cNvSpPr>
            <a:spLocks noGrp="1"/>
          </p:cNvSpPr>
          <p:nvPr>
            <p:ph type="pic" sz="quarter" idx="20"/>
          </p:nvPr>
        </p:nvSpPr>
        <p:spPr>
          <a:xfrm>
            <a:off x="5209050" y="343783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17" name="Picture Placeholder 5"/>
          <p:cNvSpPr>
            <a:spLocks noGrp="1"/>
          </p:cNvSpPr>
          <p:nvPr>
            <p:ph type="pic" sz="quarter" idx="21"/>
          </p:nvPr>
        </p:nvSpPr>
        <p:spPr>
          <a:xfrm>
            <a:off x="6660086" y="343783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18" name="Picture Placeholder 5"/>
          <p:cNvSpPr>
            <a:spLocks noGrp="1"/>
          </p:cNvSpPr>
          <p:nvPr>
            <p:ph type="pic" sz="quarter" idx="22"/>
          </p:nvPr>
        </p:nvSpPr>
        <p:spPr>
          <a:xfrm>
            <a:off x="8111122" y="343783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19" name="Picture Placeholder 5"/>
          <p:cNvSpPr>
            <a:spLocks noGrp="1"/>
          </p:cNvSpPr>
          <p:nvPr>
            <p:ph type="pic" sz="quarter" idx="23"/>
          </p:nvPr>
        </p:nvSpPr>
        <p:spPr>
          <a:xfrm>
            <a:off x="9562158" y="343783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20" name="Picture Placeholder 5"/>
          <p:cNvSpPr>
            <a:spLocks noGrp="1"/>
          </p:cNvSpPr>
          <p:nvPr>
            <p:ph type="pic" sz="quarter" idx="24"/>
          </p:nvPr>
        </p:nvSpPr>
        <p:spPr>
          <a:xfrm>
            <a:off x="5209050" y="464654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21" name="Picture Placeholder 5"/>
          <p:cNvSpPr>
            <a:spLocks noGrp="1"/>
          </p:cNvSpPr>
          <p:nvPr>
            <p:ph type="pic" sz="quarter" idx="25"/>
          </p:nvPr>
        </p:nvSpPr>
        <p:spPr>
          <a:xfrm>
            <a:off x="6660086" y="464654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22" name="Picture Placeholder 5"/>
          <p:cNvSpPr>
            <a:spLocks noGrp="1"/>
          </p:cNvSpPr>
          <p:nvPr>
            <p:ph type="pic" sz="quarter" idx="26"/>
          </p:nvPr>
        </p:nvSpPr>
        <p:spPr>
          <a:xfrm>
            <a:off x="8111122" y="464654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23" name="Picture Placeholder 5"/>
          <p:cNvSpPr>
            <a:spLocks noGrp="1"/>
          </p:cNvSpPr>
          <p:nvPr>
            <p:ph type="pic" sz="quarter" idx="27"/>
          </p:nvPr>
        </p:nvSpPr>
        <p:spPr>
          <a:xfrm>
            <a:off x="9562158" y="4646541"/>
            <a:ext cx="720000" cy="720000"/>
          </a:xfrm>
          <a:prstGeom prst="rect">
            <a:avLst/>
          </a:prstGeom>
        </p:spPr>
        <p:txBody>
          <a:bodyPr rtlCol="0">
            <a:noAutofit/>
          </a:bodyPr>
          <a:lstStyle>
            <a:lvl1pPr marL="0" indent="0" algn="ctr">
              <a:buNone/>
              <a:defRPr sz="1000">
                <a:solidFill>
                  <a:srgbClr val="000000"/>
                </a:solidFill>
              </a:defRPr>
            </a:lvl1pPr>
          </a:lstStyle>
          <a:p>
            <a:pPr lvl="0"/>
            <a:r>
              <a:rPr lang="en-US" noProof="0"/>
              <a:t>Click icon to add picture</a:t>
            </a:r>
            <a:endParaRPr lang="en-CA" noProof="0" dirty="0"/>
          </a:p>
        </p:txBody>
      </p:sp>
      <p:sp>
        <p:nvSpPr>
          <p:cNvPr id="24" name="Text Placeholder 2"/>
          <p:cNvSpPr>
            <a:spLocks noGrp="1"/>
          </p:cNvSpPr>
          <p:nvPr>
            <p:ph type="body" sz="quarter" idx="28"/>
          </p:nvPr>
        </p:nvSpPr>
        <p:spPr>
          <a:xfrm>
            <a:off x="4965368" y="3042122"/>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25" name="Text Placeholder 2"/>
          <p:cNvSpPr>
            <a:spLocks noGrp="1"/>
          </p:cNvSpPr>
          <p:nvPr>
            <p:ph type="body" sz="quarter" idx="29"/>
          </p:nvPr>
        </p:nvSpPr>
        <p:spPr>
          <a:xfrm>
            <a:off x="6416404" y="3042122"/>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26" name="Text Placeholder 2"/>
          <p:cNvSpPr>
            <a:spLocks noGrp="1"/>
          </p:cNvSpPr>
          <p:nvPr>
            <p:ph type="body" sz="quarter" idx="30"/>
          </p:nvPr>
        </p:nvSpPr>
        <p:spPr>
          <a:xfrm>
            <a:off x="7867440" y="3042122"/>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27" name="Text Placeholder 2"/>
          <p:cNvSpPr>
            <a:spLocks noGrp="1"/>
          </p:cNvSpPr>
          <p:nvPr>
            <p:ph type="body" sz="quarter" idx="31"/>
          </p:nvPr>
        </p:nvSpPr>
        <p:spPr>
          <a:xfrm>
            <a:off x="9318675" y="3042122"/>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28" name="Text Placeholder 2"/>
          <p:cNvSpPr>
            <a:spLocks noGrp="1"/>
          </p:cNvSpPr>
          <p:nvPr>
            <p:ph type="body" sz="quarter" idx="32"/>
          </p:nvPr>
        </p:nvSpPr>
        <p:spPr>
          <a:xfrm>
            <a:off x="4965368" y="4232834"/>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29" name="Text Placeholder 2"/>
          <p:cNvSpPr>
            <a:spLocks noGrp="1"/>
          </p:cNvSpPr>
          <p:nvPr>
            <p:ph type="body" sz="quarter" idx="33"/>
          </p:nvPr>
        </p:nvSpPr>
        <p:spPr>
          <a:xfrm>
            <a:off x="6416404" y="4232834"/>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30" name="Text Placeholder 2"/>
          <p:cNvSpPr>
            <a:spLocks noGrp="1"/>
          </p:cNvSpPr>
          <p:nvPr>
            <p:ph type="body" sz="quarter" idx="34"/>
          </p:nvPr>
        </p:nvSpPr>
        <p:spPr>
          <a:xfrm>
            <a:off x="7867440" y="4232834"/>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31" name="Text Placeholder 2"/>
          <p:cNvSpPr>
            <a:spLocks noGrp="1"/>
          </p:cNvSpPr>
          <p:nvPr>
            <p:ph type="body" sz="quarter" idx="35"/>
          </p:nvPr>
        </p:nvSpPr>
        <p:spPr>
          <a:xfrm>
            <a:off x="9318675" y="4232834"/>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32" name="Text Placeholder 2"/>
          <p:cNvSpPr>
            <a:spLocks noGrp="1"/>
          </p:cNvSpPr>
          <p:nvPr>
            <p:ph type="body" sz="quarter" idx="36"/>
          </p:nvPr>
        </p:nvSpPr>
        <p:spPr>
          <a:xfrm>
            <a:off x="4965368" y="5434667"/>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33" name="Text Placeholder 2"/>
          <p:cNvSpPr>
            <a:spLocks noGrp="1"/>
          </p:cNvSpPr>
          <p:nvPr>
            <p:ph type="body" sz="quarter" idx="37"/>
          </p:nvPr>
        </p:nvSpPr>
        <p:spPr>
          <a:xfrm>
            <a:off x="6416404" y="5434667"/>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34" name="Text Placeholder 2"/>
          <p:cNvSpPr>
            <a:spLocks noGrp="1"/>
          </p:cNvSpPr>
          <p:nvPr>
            <p:ph type="body" sz="quarter" idx="38"/>
          </p:nvPr>
        </p:nvSpPr>
        <p:spPr>
          <a:xfrm>
            <a:off x="7867440" y="5434667"/>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35" name="Text Placeholder 2"/>
          <p:cNvSpPr>
            <a:spLocks noGrp="1"/>
          </p:cNvSpPr>
          <p:nvPr>
            <p:ph type="body" sz="quarter" idx="39"/>
          </p:nvPr>
        </p:nvSpPr>
        <p:spPr>
          <a:xfrm>
            <a:off x="9318675" y="5434667"/>
            <a:ext cx="1207363" cy="187572"/>
          </a:xfrm>
          <a:prstGeom prst="rect">
            <a:avLst/>
          </a:prstGeom>
        </p:spPr>
        <p:txBody>
          <a:bodyPr>
            <a:noAutofit/>
          </a:bodyPr>
          <a:lstStyle>
            <a:lvl1pPr marL="0" indent="0" algn="ctr">
              <a:buNone/>
              <a:defRPr sz="80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noProof="0"/>
              <a:t>Click to edit Master text styles</a:t>
            </a:r>
          </a:p>
        </p:txBody>
      </p:sp>
      <p:sp>
        <p:nvSpPr>
          <p:cNvPr id="4" name="Slide Number Placeholder 3">
            <a:extLst>
              <a:ext uri="{FF2B5EF4-FFF2-40B4-BE49-F238E27FC236}">
                <a16:creationId xmlns:a16="http://schemas.microsoft.com/office/drawing/2014/main" id="{53EE9BB1-7F85-D684-3923-D815677CF191}"/>
              </a:ext>
            </a:extLst>
          </p:cNvPr>
          <p:cNvSpPr>
            <a:spLocks noGrp="1"/>
          </p:cNvSpPr>
          <p:nvPr>
            <p:ph type="sldNum" sz="quarter" idx="40"/>
          </p:nvPr>
        </p:nvSpPr>
        <p:spPr/>
        <p:txBody>
          <a:bodyPr/>
          <a:lstStyle>
            <a:lvl1pPr algn="r">
              <a:defRPr sz="1000">
                <a:solidFill>
                  <a:srgbClr val="000000"/>
                </a:solidFill>
              </a:defRPr>
            </a:lvl1pPr>
          </a:lstStyle>
          <a:p>
            <a:pPr>
              <a:defRPr/>
            </a:pPr>
            <a:fld id="{246E969D-00BB-4110-B959-C45B688E0980}" type="slidenum">
              <a:rPr lang="en-GB"/>
              <a:pPr>
                <a:defRPr/>
              </a:pPr>
              <a:t>‹#›</a:t>
            </a:fld>
            <a:endParaRPr lang="en-GB" dirty="0"/>
          </a:p>
        </p:txBody>
      </p:sp>
    </p:spTree>
    <p:extLst>
      <p:ext uri="{BB962C8B-B14F-4D97-AF65-F5344CB8AC3E}">
        <p14:creationId xmlns:p14="http://schemas.microsoft.com/office/powerpoint/2010/main" val="571110239"/>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sections_text+icon_spac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52B5CE-E977-E98D-67C7-CEDFF3EC38E0}"/>
              </a:ext>
            </a:extLst>
          </p:cNvPr>
          <p:cNvSpPr/>
          <p:nvPr/>
        </p:nvSpPr>
        <p:spPr>
          <a:xfrm>
            <a:off x="0" y="1630363"/>
            <a:ext cx="12192000" cy="5221287"/>
          </a:xfrm>
          <a:prstGeom prst="rect">
            <a:avLst/>
          </a:prstGeom>
          <a:solidFill>
            <a:srgbClr val="F6F5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6" name="Titel 4"/>
          <p:cNvSpPr>
            <a:spLocks noGrp="1"/>
          </p:cNvSpPr>
          <p:nvPr>
            <p:ph type="title"/>
          </p:nvPr>
        </p:nvSpPr>
        <p:spPr>
          <a:xfrm>
            <a:off x="553321" y="550779"/>
            <a:ext cx="8314454" cy="864136"/>
          </a:xfrm>
        </p:spPr>
        <p:txBody>
          <a:bodyPr/>
          <a:lstStyle/>
          <a:p>
            <a:pPr lvl="0"/>
            <a:r>
              <a:rPr lang="en-US" noProof="0"/>
              <a:t>Click to edit Master title style</a:t>
            </a:r>
            <a:endParaRPr lang="de-DE" dirty="0"/>
          </a:p>
        </p:txBody>
      </p:sp>
      <p:sp>
        <p:nvSpPr>
          <p:cNvPr id="7" name="Text Placeholder 3"/>
          <p:cNvSpPr>
            <a:spLocks noGrp="1"/>
          </p:cNvSpPr>
          <p:nvPr>
            <p:ph type="body" sz="quarter" idx="18"/>
          </p:nvPr>
        </p:nvSpPr>
        <p:spPr>
          <a:xfrm>
            <a:off x="1495771" y="2557202"/>
            <a:ext cx="2376000" cy="360000"/>
          </a:xfrm>
          <a:prstGeom prst="rect">
            <a:avLst/>
          </a:prstGeom>
        </p:spPr>
        <p:txBody>
          <a:bodyPr>
            <a:noAutofit/>
          </a:bodyPr>
          <a:lstStyle>
            <a:lvl1pPr marL="0" indent="0" algn="l">
              <a:lnSpc>
                <a:spcPct val="100000"/>
              </a:lnSpc>
              <a:spcBef>
                <a:spcPts val="0"/>
              </a:spcBef>
              <a:buNone/>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8" name="Text Placeholder 3"/>
          <p:cNvSpPr>
            <a:spLocks noGrp="1"/>
          </p:cNvSpPr>
          <p:nvPr>
            <p:ph type="body" sz="quarter" idx="19"/>
          </p:nvPr>
        </p:nvSpPr>
        <p:spPr>
          <a:xfrm>
            <a:off x="5339427" y="2557202"/>
            <a:ext cx="2376000" cy="360000"/>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11" name="Text Placeholder 3"/>
          <p:cNvSpPr>
            <a:spLocks noGrp="1"/>
          </p:cNvSpPr>
          <p:nvPr>
            <p:ph type="body" sz="quarter" idx="20"/>
          </p:nvPr>
        </p:nvSpPr>
        <p:spPr>
          <a:xfrm>
            <a:off x="9183083" y="2557202"/>
            <a:ext cx="2376000" cy="360000"/>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12" name="Text Placeholder 3"/>
          <p:cNvSpPr>
            <a:spLocks noGrp="1"/>
          </p:cNvSpPr>
          <p:nvPr>
            <p:ph type="body" sz="quarter" idx="21"/>
          </p:nvPr>
        </p:nvSpPr>
        <p:spPr>
          <a:xfrm>
            <a:off x="1495771" y="4648926"/>
            <a:ext cx="2376000" cy="360000"/>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13" name="Text Placeholder 3"/>
          <p:cNvSpPr>
            <a:spLocks noGrp="1"/>
          </p:cNvSpPr>
          <p:nvPr>
            <p:ph type="body" sz="quarter" idx="22"/>
          </p:nvPr>
        </p:nvSpPr>
        <p:spPr>
          <a:xfrm>
            <a:off x="5339427" y="4648926"/>
            <a:ext cx="2376000" cy="360000"/>
          </a:xfrm>
          <a:prstGeom prst="rect">
            <a:avLst/>
          </a:prstGeom>
        </p:spPr>
        <p:txBody>
          <a:bodyPr>
            <a:noAutofit/>
          </a:bodyPr>
          <a:lstStyle>
            <a:lvl1pPr marL="0" indent="0" algn="l">
              <a:lnSpc>
                <a:spcPct val="100000"/>
              </a:lnSpc>
              <a:spcBef>
                <a:spcPts val="0"/>
              </a:spcBef>
              <a:buNone/>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14" name="Text Placeholder 3"/>
          <p:cNvSpPr>
            <a:spLocks noGrp="1"/>
          </p:cNvSpPr>
          <p:nvPr>
            <p:ph type="body" sz="quarter" idx="23"/>
          </p:nvPr>
        </p:nvSpPr>
        <p:spPr>
          <a:xfrm>
            <a:off x="9183083" y="4648926"/>
            <a:ext cx="2376000" cy="360000"/>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b="1" baseline="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a:t>Click to edit Master text styles</a:t>
            </a:r>
          </a:p>
        </p:txBody>
      </p:sp>
      <p:sp>
        <p:nvSpPr>
          <p:cNvPr id="15" name="Text Placeholder 10"/>
          <p:cNvSpPr>
            <a:spLocks noGrp="1"/>
          </p:cNvSpPr>
          <p:nvPr>
            <p:ph type="body" sz="quarter" idx="34"/>
          </p:nvPr>
        </p:nvSpPr>
        <p:spPr>
          <a:xfrm>
            <a:off x="1495771" y="5026612"/>
            <a:ext cx="2376000" cy="720000"/>
          </a:xfrm>
          <a:prstGeom prst="rect">
            <a:avLst/>
          </a:prstGeom>
        </p:spPr>
        <p:txBody>
          <a:bodyPr>
            <a:noAutofit/>
          </a:bodyPr>
          <a:lstStyle>
            <a:lvl1pPr marL="0" marR="0" indent="0" algn="l" defTabSz="457200" rtl="0" eaLnBrk="1" fontAlgn="auto" latinLnBrk="0" hangingPunct="1">
              <a:lnSpc>
                <a:spcPct val="100000"/>
              </a:lnSpc>
              <a:spcBef>
                <a:spcPts val="0"/>
              </a:spcBef>
              <a:spcAft>
                <a:spcPts val="0"/>
              </a:spcAft>
              <a:buClrTx/>
              <a:buSzTx/>
              <a:buFont typeface="Wingdings" charset="2"/>
              <a:buNone/>
              <a:tabLst/>
              <a:defRPr sz="1200" baseline="0">
                <a:solidFill>
                  <a:schemeClr val="tx2"/>
                </a:solidFill>
              </a:defRPr>
            </a:lvl1pPr>
          </a:lstStyle>
          <a:p>
            <a:pPr lvl="0"/>
            <a:r>
              <a:rPr lang="en-US" noProof="0"/>
              <a:t>Click to edit Master text styles</a:t>
            </a:r>
          </a:p>
          <a:p>
            <a:pPr lvl="1"/>
            <a:r>
              <a:rPr lang="en-US" noProof="0"/>
              <a:t>Second level</a:t>
            </a:r>
          </a:p>
        </p:txBody>
      </p:sp>
      <p:sp>
        <p:nvSpPr>
          <p:cNvPr id="16" name="Text Placeholder 10"/>
          <p:cNvSpPr>
            <a:spLocks noGrp="1"/>
          </p:cNvSpPr>
          <p:nvPr>
            <p:ph type="body" sz="quarter" idx="35"/>
          </p:nvPr>
        </p:nvSpPr>
        <p:spPr>
          <a:xfrm>
            <a:off x="5339427" y="2933791"/>
            <a:ext cx="2376000" cy="720000"/>
          </a:xfrm>
          <a:prstGeom prst="rect">
            <a:avLst/>
          </a:prstGeom>
        </p:spPr>
        <p:txBody>
          <a:bodyPr>
            <a:noAutofit/>
          </a:bodyPr>
          <a:lstStyle>
            <a:lvl1pPr marL="0" marR="0" indent="0" algn="l" defTabSz="457200" rtl="0" eaLnBrk="1" fontAlgn="auto" latinLnBrk="0" hangingPunct="1">
              <a:lnSpc>
                <a:spcPct val="100000"/>
              </a:lnSpc>
              <a:spcBef>
                <a:spcPts val="0"/>
              </a:spcBef>
              <a:spcAft>
                <a:spcPts val="0"/>
              </a:spcAft>
              <a:buClrTx/>
              <a:buSzTx/>
              <a:buFont typeface="Wingdings" charset="2"/>
              <a:buNone/>
              <a:tabLst/>
              <a:defRPr sz="1200" baseline="0">
                <a:solidFill>
                  <a:schemeClr val="tx2"/>
                </a:solidFill>
              </a:defRPr>
            </a:lvl1pPr>
          </a:lstStyle>
          <a:p>
            <a:pPr lvl="0"/>
            <a:r>
              <a:rPr lang="en-US" noProof="0"/>
              <a:t>Click to edit Master text styles</a:t>
            </a:r>
          </a:p>
          <a:p>
            <a:pPr lvl="1"/>
            <a:r>
              <a:rPr lang="en-US" noProof="0"/>
              <a:t>Second level</a:t>
            </a:r>
          </a:p>
        </p:txBody>
      </p:sp>
      <p:sp>
        <p:nvSpPr>
          <p:cNvPr id="17" name="Text Placeholder 10"/>
          <p:cNvSpPr>
            <a:spLocks noGrp="1"/>
          </p:cNvSpPr>
          <p:nvPr>
            <p:ph type="body" sz="quarter" idx="36"/>
          </p:nvPr>
        </p:nvSpPr>
        <p:spPr>
          <a:xfrm>
            <a:off x="9183083" y="2933791"/>
            <a:ext cx="2376000" cy="720000"/>
          </a:xfrm>
          <a:prstGeom prst="rect">
            <a:avLst/>
          </a:prstGeom>
        </p:spPr>
        <p:txBody>
          <a:bodyPr>
            <a:noAutofit/>
          </a:bodyPr>
          <a:lstStyle>
            <a:lvl1pPr marL="0" marR="0" indent="0" algn="l" defTabSz="457200" rtl="0" eaLnBrk="1" fontAlgn="auto" latinLnBrk="0" hangingPunct="1">
              <a:lnSpc>
                <a:spcPct val="100000"/>
              </a:lnSpc>
              <a:spcBef>
                <a:spcPts val="0"/>
              </a:spcBef>
              <a:spcAft>
                <a:spcPts val="0"/>
              </a:spcAft>
              <a:buClrTx/>
              <a:buSzTx/>
              <a:buFont typeface="Wingdings" charset="2"/>
              <a:buNone/>
              <a:tabLst/>
              <a:defRPr sz="1200" baseline="0">
                <a:solidFill>
                  <a:schemeClr val="tx2"/>
                </a:solidFill>
              </a:defRPr>
            </a:lvl1pPr>
          </a:lstStyle>
          <a:p>
            <a:pPr lvl="0"/>
            <a:r>
              <a:rPr lang="en-US" noProof="0"/>
              <a:t>Click to edit Master text styles</a:t>
            </a:r>
          </a:p>
          <a:p>
            <a:pPr lvl="1"/>
            <a:r>
              <a:rPr lang="en-US" noProof="0"/>
              <a:t>Second level</a:t>
            </a:r>
          </a:p>
        </p:txBody>
      </p:sp>
      <p:sp>
        <p:nvSpPr>
          <p:cNvPr id="18" name="Text Placeholder 10"/>
          <p:cNvSpPr>
            <a:spLocks noGrp="1"/>
          </p:cNvSpPr>
          <p:nvPr>
            <p:ph type="body" sz="quarter" idx="37"/>
          </p:nvPr>
        </p:nvSpPr>
        <p:spPr>
          <a:xfrm>
            <a:off x="1495771" y="2933791"/>
            <a:ext cx="2376000" cy="720000"/>
          </a:xfrm>
          <a:prstGeom prst="rect">
            <a:avLst/>
          </a:prstGeom>
        </p:spPr>
        <p:txBody>
          <a:bodyPr>
            <a:noAutofit/>
          </a:bodyPr>
          <a:lstStyle>
            <a:lvl1pPr marL="0" marR="0" indent="0" algn="l" defTabSz="457200" rtl="0" eaLnBrk="1" fontAlgn="auto" latinLnBrk="0" hangingPunct="1">
              <a:lnSpc>
                <a:spcPct val="100000"/>
              </a:lnSpc>
              <a:spcBef>
                <a:spcPts val="0"/>
              </a:spcBef>
              <a:spcAft>
                <a:spcPts val="0"/>
              </a:spcAft>
              <a:buClrTx/>
              <a:buSzTx/>
              <a:buFont typeface="Wingdings" charset="2"/>
              <a:buNone/>
              <a:tabLst/>
              <a:defRPr sz="1200" baseline="0">
                <a:solidFill>
                  <a:schemeClr val="tx2"/>
                </a:solidFill>
              </a:defRPr>
            </a:lvl1pPr>
          </a:lstStyle>
          <a:p>
            <a:pPr lvl="0"/>
            <a:r>
              <a:rPr lang="en-US" noProof="0"/>
              <a:t>Click to edit Master text styles</a:t>
            </a:r>
          </a:p>
          <a:p>
            <a:pPr lvl="1"/>
            <a:r>
              <a:rPr lang="en-US" noProof="0"/>
              <a:t>Second level</a:t>
            </a:r>
          </a:p>
        </p:txBody>
      </p:sp>
      <p:sp>
        <p:nvSpPr>
          <p:cNvPr id="19" name="Text Placeholder 10"/>
          <p:cNvSpPr>
            <a:spLocks noGrp="1"/>
          </p:cNvSpPr>
          <p:nvPr>
            <p:ph type="body" sz="quarter" idx="38"/>
          </p:nvPr>
        </p:nvSpPr>
        <p:spPr>
          <a:xfrm>
            <a:off x="5339427" y="5026612"/>
            <a:ext cx="2376000" cy="720000"/>
          </a:xfrm>
          <a:prstGeom prst="rect">
            <a:avLst/>
          </a:prstGeom>
        </p:spPr>
        <p:txBody>
          <a:bodyPr>
            <a:noAutofit/>
          </a:bodyPr>
          <a:lstStyle>
            <a:lvl1pPr marL="0" marR="0" indent="0" algn="l" defTabSz="457200" rtl="0" eaLnBrk="1" fontAlgn="auto" latinLnBrk="0" hangingPunct="1">
              <a:lnSpc>
                <a:spcPct val="100000"/>
              </a:lnSpc>
              <a:spcBef>
                <a:spcPts val="0"/>
              </a:spcBef>
              <a:spcAft>
                <a:spcPts val="0"/>
              </a:spcAft>
              <a:buClrTx/>
              <a:buSzTx/>
              <a:buFont typeface="Wingdings" charset="2"/>
              <a:buNone/>
              <a:tabLst/>
              <a:defRPr sz="1200" baseline="0">
                <a:solidFill>
                  <a:schemeClr val="tx2"/>
                </a:solidFill>
              </a:defRPr>
            </a:lvl1pPr>
          </a:lstStyle>
          <a:p>
            <a:pPr lvl="0"/>
            <a:r>
              <a:rPr lang="en-US" noProof="0"/>
              <a:t>Click to edit Master text styles</a:t>
            </a:r>
          </a:p>
          <a:p>
            <a:pPr lvl="1"/>
            <a:r>
              <a:rPr lang="en-US" noProof="0"/>
              <a:t>Second level</a:t>
            </a:r>
          </a:p>
        </p:txBody>
      </p:sp>
      <p:sp>
        <p:nvSpPr>
          <p:cNvPr id="20" name="Text Placeholder 10"/>
          <p:cNvSpPr>
            <a:spLocks noGrp="1"/>
          </p:cNvSpPr>
          <p:nvPr>
            <p:ph type="body" sz="quarter" idx="39"/>
          </p:nvPr>
        </p:nvSpPr>
        <p:spPr>
          <a:xfrm>
            <a:off x="9183083" y="5026612"/>
            <a:ext cx="2376000" cy="720000"/>
          </a:xfrm>
          <a:prstGeom prst="rect">
            <a:avLst/>
          </a:prstGeom>
        </p:spPr>
        <p:txBody>
          <a:bodyPr>
            <a:noAutofit/>
          </a:bodyPr>
          <a:lstStyle>
            <a:lvl1pPr marL="0" marR="0" indent="0" algn="l" defTabSz="457200" rtl="0" eaLnBrk="1" fontAlgn="auto" latinLnBrk="0" hangingPunct="1">
              <a:lnSpc>
                <a:spcPct val="100000"/>
              </a:lnSpc>
              <a:spcBef>
                <a:spcPts val="0"/>
              </a:spcBef>
              <a:spcAft>
                <a:spcPts val="0"/>
              </a:spcAft>
              <a:buClrTx/>
              <a:buSzTx/>
              <a:buFont typeface="Wingdings" charset="2"/>
              <a:buNone/>
              <a:tabLst/>
              <a:defRPr sz="1200" baseline="0">
                <a:solidFill>
                  <a:schemeClr val="tx2"/>
                </a:solidFill>
              </a:defRPr>
            </a:lvl1pPr>
          </a:lstStyle>
          <a:p>
            <a:pPr lvl="0"/>
            <a:r>
              <a:rPr lang="en-US" noProof="0"/>
              <a:t>Click to edit Master text styles</a:t>
            </a:r>
          </a:p>
          <a:p>
            <a:pPr lvl="1"/>
            <a:r>
              <a:rPr lang="en-US" noProof="0"/>
              <a:t>Second level</a:t>
            </a:r>
          </a:p>
        </p:txBody>
      </p:sp>
      <p:sp>
        <p:nvSpPr>
          <p:cNvPr id="3" name="Slide Number Placeholder 3">
            <a:extLst>
              <a:ext uri="{FF2B5EF4-FFF2-40B4-BE49-F238E27FC236}">
                <a16:creationId xmlns:a16="http://schemas.microsoft.com/office/drawing/2014/main" id="{2919E21E-383E-587B-A40F-9D641AFC55DD}"/>
              </a:ext>
            </a:extLst>
          </p:cNvPr>
          <p:cNvSpPr>
            <a:spLocks noGrp="1"/>
          </p:cNvSpPr>
          <p:nvPr>
            <p:ph type="sldNum" sz="quarter" idx="40"/>
          </p:nvPr>
        </p:nvSpPr>
        <p:spPr/>
        <p:txBody>
          <a:bodyPr/>
          <a:lstStyle>
            <a:lvl1pPr algn="r">
              <a:defRPr sz="1000">
                <a:solidFill>
                  <a:srgbClr val="000000"/>
                </a:solidFill>
              </a:defRPr>
            </a:lvl1pPr>
          </a:lstStyle>
          <a:p>
            <a:pPr>
              <a:defRPr/>
            </a:pPr>
            <a:fld id="{5A6659FB-244B-4240-A116-D2CDAE9227DA}" type="slidenum">
              <a:rPr lang="en-GB"/>
              <a:pPr>
                <a:defRPr/>
              </a:pPr>
              <a:t>‹#›</a:t>
            </a:fld>
            <a:endParaRPr lang="en-GB" dirty="0"/>
          </a:p>
        </p:txBody>
      </p:sp>
    </p:spTree>
    <p:extLst>
      <p:ext uri="{BB962C8B-B14F-4D97-AF65-F5344CB8AC3E}">
        <p14:creationId xmlns:p14="http://schemas.microsoft.com/office/powerpoint/2010/main" val="3397306410"/>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_number_sections+text_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58957C-8A1E-36ED-CA8D-2A40EF3E9EC3}"/>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3" name="Freeform 5">
            <a:extLst>
              <a:ext uri="{FF2B5EF4-FFF2-40B4-BE49-F238E27FC236}">
                <a16:creationId xmlns:a16="http://schemas.microsoft.com/office/drawing/2014/main" id="{0AAC4019-0E62-21F3-3997-9DC26D13E533}"/>
              </a:ext>
            </a:extLst>
          </p:cNvPr>
          <p:cNvSpPr>
            <a:spLocks noEditPoints="1"/>
          </p:cNvSpPr>
          <p:nvPr/>
        </p:nvSpPr>
        <p:spPr bwMode="auto">
          <a:xfrm>
            <a:off x="9721850" y="558800"/>
            <a:ext cx="1908175" cy="379413"/>
          </a:xfrm>
          <a:custGeom>
            <a:avLst/>
            <a:gdLst>
              <a:gd name="T0" fmla="*/ 1714967 w 1196"/>
              <a:gd name="T1" fmla="*/ 111125 h 239"/>
              <a:gd name="T2" fmla="*/ 1729324 w 1196"/>
              <a:gd name="T3" fmla="*/ 142875 h 239"/>
              <a:gd name="T4" fmla="*/ 1695823 w 1196"/>
              <a:gd name="T5" fmla="*/ 130175 h 239"/>
              <a:gd name="T6" fmla="*/ 1649559 w 1196"/>
              <a:gd name="T7" fmla="*/ 368300 h 239"/>
              <a:gd name="T8" fmla="*/ 1750064 w 1196"/>
              <a:gd name="T9" fmla="*/ 376238 h 239"/>
              <a:gd name="T10" fmla="*/ 1813876 w 1196"/>
              <a:gd name="T11" fmla="*/ 309563 h 239"/>
              <a:gd name="T12" fmla="*/ 1764421 w 1196"/>
              <a:gd name="T13" fmla="*/ 212725 h 239"/>
              <a:gd name="T14" fmla="*/ 1756445 w 1196"/>
              <a:gd name="T15" fmla="*/ 142875 h 239"/>
              <a:gd name="T16" fmla="*/ 1746873 w 1196"/>
              <a:gd name="T17" fmla="*/ 100013 h 239"/>
              <a:gd name="T18" fmla="*/ 1697418 w 1196"/>
              <a:gd name="T19" fmla="*/ 92075 h 239"/>
              <a:gd name="T20" fmla="*/ 1670298 w 1196"/>
              <a:gd name="T21" fmla="*/ 130175 h 239"/>
              <a:gd name="T22" fmla="*/ 1665512 w 1196"/>
              <a:gd name="T23" fmla="*/ 187325 h 239"/>
              <a:gd name="T24" fmla="*/ 1633605 w 1196"/>
              <a:gd name="T25" fmla="*/ 322263 h 239"/>
              <a:gd name="T26" fmla="*/ 1531505 w 1196"/>
              <a:gd name="T27" fmla="*/ 133350 h 239"/>
              <a:gd name="T28" fmla="*/ 1608080 w 1196"/>
              <a:gd name="T29" fmla="*/ 33338 h 239"/>
              <a:gd name="T30" fmla="*/ 1716562 w 1196"/>
              <a:gd name="T31" fmla="*/ 0 h 239"/>
              <a:gd name="T32" fmla="*/ 1837806 w 1196"/>
              <a:gd name="T33" fmla="*/ 42863 h 239"/>
              <a:gd name="T34" fmla="*/ 1904809 w 1196"/>
              <a:gd name="T35" fmla="*/ 149225 h 239"/>
              <a:gd name="T36" fmla="*/ 1895237 w 1196"/>
              <a:gd name="T37" fmla="*/ 254000 h 239"/>
              <a:gd name="T38" fmla="*/ 1844187 w 1196"/>
              <a:gd name="T39" fmla="*/ 276225 h 239"/>
              <a:gd name="T40" fmla="*/ 1872903 w 1196"/>
              <a:gd name="T41" fmla="*/ 187325 h 239"/>
              <a:gd name="T42" fmla="*/ 1845783 w 1196"/>
              <a:gd name="T43" fmla="*/ 101600 h 239"/>
              <a:gd name="T44" fmla="*/ 1761231 w 1196"/>
              <a:gd name="T45" fmla="*/ 39688 h 239"/>
              <a:gd name="T46" fmla="*/ 1668702 w 1196"/>
              <a:gd name="T47" fmla="*/ 39688 h 239"/>
              <a:gd name="T48" fmla="*/ 1587341 w 1196"/>
              <a:gd name="T49" fmla="*/ 101600 h 239"/>
              <a:gd name="T50" fmla="*/ 1560221 w 1196"/>
              <a:gd name="T51" fmla="*/ 187325 h 239"/>
              <a:gd name="T52" fmla="*/ 1587341 w 1196"/>
              <a:gd name="T53" fmla="*/ 276225 h 239"/>
              <a:gd name="T54" fmla="*/ 1536291 w 1196"/>
              <a:gd name="T55" fmla="*/ 254000 h 239"/>
              <a:gd name="T56" fmla="*/ 1357615 w 1196"/>
              <a:gd name="T57" fmla="*/ 130175 h 239"/>
              <a:gd name="T58" fmla="*/ 1333686 w 1196"/>
              <a:gd name="T59" fmla="*/ 247650 h 239"/>
              <a:gd name="T60" fmla="*/ 1276254 w 1196"/>
              <a:gd name="T61" fmla="*/ 157163 h 239"/>
              <a:gd name="T62" fmla="*/ 1111936 w 1196"/>
              <a:gd name="T63" fmla="*/ 176213 h 239"/>
              <a:gd name="T64" fmla="*/ 1169368 w 1196"/>
              <a:gd name="T65" fmla="*/ 127000 h 239"/>
              <a:gd name="T66" fmla="*/ 1214037 w 1196"/>
              <a:gd name="T67" fmla="*/ 149225 h 239"/>
              <a:gd name="T68" fmla="*/ 1175749 w 1196"/>
              <a:gd name="T69" fmla="*/ 152400 h 239"/>
              <a:gd name="T70" fmla="*/ 1147033 w 1196"/>
              <a:gd name="T71" fmla="*/ 168275 h 239"/>
              <a:gd name="T72" fmla="*/ 1155010 w 1196"/>
              <a:gd name="T73" fmla="*/ 219075 h 239"/>
              <a:gd name="T74" fmla="*/ 1191702 w 1196"/>
              <a:gd name="T75" fmla="*/ 204788 h 239"/>
              <a:gd name="T76" fmla="*/ 1198084 w 1196"/>
              <a:gd name="T77" fmla="*/ 247650 h 239"/>
              <a:gd name="T78" fmla="*/ 1127890 w 1196"/>
              <a:gd name="T79" fmla="*/ 236538 h 239"/>
              <a:gd name="T80" fmla="*/ 1043338 w 1196"/>
              <a:gd name="T81" fmla="*/ 161925 h 239"/>
              <a:gd name="T82" fmla="*/ 1073649 w 1196"/>
              <a:gd name="T83" fmla="*/ 247650 h 239"/>
              <a:gd name="T84" fmla="*/ 891783 w 1196"/>
              <a:gd name="T85" fmla="*/ 177800 h 239"/>
              <a:gd name="T86" fmla="*/ 863067 w 1196"/>
              <a:gd name="T87" fmla="*/ 130175 h 239"/>
              <a:gd name="T88" fmla="*/ 794468 w 1196"/>
              <a:gd name="T89" fmla="*/ 185738 h 239"/>
              <a:gd name="T90" fmla="*/ 729060 w 1196"/>
              <a:gd name="T91" fmla="*/ 201613 h 239"/>
              <a:gd name="T92" fmla="*/ 705130 w 1196"/>
              <a:gd name="T93" fmla="*/ 176213 h 239"/>
              <a:gd name="T94" fmla="*/ 492953 w 1196"/>
              <a:gd name="T95" fmla="*/ 247650 h 239"/>
              <a:gd name="T96" fmla="*/ 567933 w 1196"/>
              <a:gd name="T97" fmla="*/ 200025 h 239"/>
              <a:gd name="T98" fmla="*/ 433926 w 1196"/>
              <a:gd name="T99" fmla="*/ 203200 h 239"/>
              <a:gd name="T100" fmla="*/ 392448 w 1196"/>
              <a:gd name="T101" fmla="*/ 130175 h 239"/>
              <a:gd name="T102" fmla="*/ 277585 w 1196"/>
              <a:gd name="T103" fmla="*/ 201613 h 239"/>
              <a:gd name="T104" fmla="*/ 247274 w 1196"/>
              <a:gd name="T105" fmla="*/ 130175 h 239"/>
              <a:gd name="T106" fmla="*/ 132411 w 1196"/>
              <a:gd name="T107" fmla="*/ 239713 h 239"/>
              <a:gd name="T108" fmla="*/ 188247 w 1196"/>
              <a:gd name="T109" fmla="*/ 249238 h 239"/>
              <a:gd name="T110" fmla="*/ 220154 w 1196"/>
              <a:gd name="T111" fmla="*/ 130175 h 239"/>
              <a:gd name="T112" fmla="*/ 170699 w 1196"/>
              <a:gd name="T113" fmla="*/ 225425 h 239"/>
              <a:gd name="T114" fmla="*/ 118054 w 1196"/>
              <a:gd name="T115" fmla="*/ 130175 h 239"/>
              <a:gd name="T116" fmla="*/ 105291 w 1196"/>
              <a:gd name="T117" fmla="*/ 247650 h 239"/>
              <a:gd name="T118" fmla="*/ 0 w 1196"/>
              <a:gd name="T119" fmla="*/ 247650 h 2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96" h="239">
                <a:moveTo>
                  <a:pt x="1063" y="82"/>
                </a:moveTo>
                <a:lnTo>
                  <a:pt x="1063" y="82"/>
                </a:lnTo>
                <a:lnTo>
                  <a:pt x="1064" y="78"/>
                </a:lnTo>
                <a:lnTo>
                  <a:pt x="1066" y="73"/>
                </a:lnTo>
                <a:lnTo>
                  <a:pt x="1070" y="71"/>
                </a:lnTo>
                <a:lnTo>
                  <a:pt x="1075" y="70"/>
                </a:lnTo>
                <a:lnTo>
                  <a:pt x="1080" y="71"/>
                </a:lnTo>
                <a:lnTo>
                  <a:pt x="1084" y="73"/>
                </a:lnTo>
                <a:lnTo>
                  <a:pt x="1086" y="78"/>
                </a:lnTo>
                <a:lnTo>
                  <a:pt x="1087" y="82"/>
                </a:lnTo>
                <a:lnTo>
                  <a:pt x="1086" y="87"/>
                </a:lnTo>
                <a:lnTo>
                  <a:pt x="1084" y="90"/>
                </a:lnTo>
                <a:lnTo>
                  <a:pt x="1080" y="93"/>
                </a:lnTo>
                <a:lnTo>
                  <a:pt x="1075" y="94"/>
                </a:lnTo>
                <a:lnTo>
                  <a:pt x="1070" y="93"/>
                </a:lnTo>
                <a:lnTo>
                  <a:pt x="1066" y="90"/>
                </a:lnTo>
                <a:lnTo>
                  <a:pt x="1064" y="87"/>
                </a:lnTo>
                <a:lnTo>
                  <a:pt x="1063" y="82"/>
                </a:lnTo>
                <a:close/>
                <a:moveTo>
                  <a:pt x="998" y="211"/>
                </a:moveTo>
                <a:lnTo>
                  <a:pt x="998" y="211"/>
                </a:lnTo>
                <a:lnTo>
                  <a:pt x="1006" y="217"/>
                </a:lnTo>
                <a:lnTo>
                  <a:pt x="1015" y="222"/>
                </a:lnTo>
                <a:lnTo>
                  <a:pt x="1024" y="227"/>
                </a:lnTo>
                <a:lnTo>
                  <a:pt x="1034" y="232"/>
                </a:lnTo>
                <a:lnTo>
                  <a:pt x="1044" y="235"/>
                </a:lnTo>
                <a:lnTo>
                  <a:pt x="1054" y="237"/>
                </a:lnTo>
                <a:lnTo>
                  <a:pt x="1064" y="238"/>
                </a:lnTo>
                <a:lnTo>
                  <a:pt x="1076" y="239"/>
                </a:lnTo>
                <a:lnTo>
                  <a:pt x="1086" y="238"/>
                </a:lnTo>
                <a:lnTo>
                  <a:pt x="1097" y="237"/>
                </a:lnTo>
                <a:lnTo>
                  <a:pt x="1106" y="235"/>
                </a:lnTo>
                <a:lnTo>
                  <a:pt x="1117" y="232"/>
                </a:lnTo>
                <a:lnTo>
                  <a:pt x="1126" y="227"/>
                </a:lnTo>
                <a:lnTo>
                  <a:pt x="1136" y="222"/>
                </a:lnTo>
                <a:lnTo>
                  <a:pt x="1144" y="217"/>
                </a:lnTo>
                <a:lnTo>
                  <a:pt x="1153" y="211"/>
                </a:lnTo>
                <a:lnTo>
                  <a:pt x="1137" y="195"/>
                </a:lnTo>
                <a:lnTo>
                  <a:pt x="1126" y="203"/>
                </a:lnTo>
                <a:lnTo>
                  <a:pt x="1114" y="211"/>
                </a:lnTo>
                <a:lnTo>
                  <a:pt x="1100" y="216"/>
                </a:lnTo>
                <a:lnTo>
                  <a:pt x="1086" y="218"/>
                </a:lnTo>
                <a:lnTo>
                  <a:pt x="1086" y="134"/>
                </a:lnTo>
                <a:lnTo>
                  <a:pt x="1106" y="134"/>
                </a:lnTo>
                <a:lnTo>
                  <a:pt x="1106" y="118"/>
                </a:lnTo>
                <a:lnTo>
                  <a:pt x="1086" y="118"/>
                </a:lnTo>
                <a:lnTo>
                  <a:pt x="1086" y="106"/>
                </a:lnTo>
                <a:lnTo>
                  <a:pt x="1093" y="103"/>
                </a:lnTo>
                <a:lnTo>
                  <a:pt x="1098" y="97"/>
                </a:lnTo>
                <a:lnTo>
                  <a:pt x="1101" y="90"/>
                </a:lnTo>
                <a:lnTo>
                  <a:pt x="1102" y="86"/>
                </a:lnTo>
                <a:lnTo>
                  <a:pt x="1103" y="82"/>
                </a:lnTo>
                <a:lnTo>
                  <a:pt x="1102" y="77"/>
                </a:lnTo>
                <a:lnTo>
                  <a:pt x="1101" y="71"/>
                </a:lnTo>
                <a:lnTo>
                  <a:pt x="1098" y="67"/>
                </a:lnTo>
                <a:lnTo>
                  <a:pt x="1095" y="63"/>
                </a:lnTo>
                <a:lnTo>
                  <a:pt x="1091" y="60"/>
                </a:lnTo>
                <a:lnTo>
                  <a:pt x="1086" y="58"/>
                </a:lnTo>
                <a:lnTo>
                  <a:pt x="1081" y="56"/>
                </a:lnTo>
                <a:lnTo>
                  <a:pt x="1076" y="56"/>
                </a:lnTo>
                <a:lnTo>
                  <a:pt x="1069" y="56"/>
                </a:lnTo>
                <a:lnTo>
                  <a:pt x="1064" y="58"/>
                </a:lnTo>
                <a:lnTo>
                  <a:pt x="1060" y="60"/>
                </a:lnTo>
                <a:lnTo>
                  <a:pt x="1056" y="63"/>
                </a:lnTo>
                <a:lnTo>
                  <a:pt x="1053" y="67"/>
                </a:lnTo>
                <a:lnTo>
                  <a:pt x="1049" y="71"/>
                </a:lnTo>
                <a:lnTo>
                  <a:pt x="1048" y="77"/>
                </a:lnTo>
                <a:lnTo>
                  <a:pt x="1047" y="82"/>
                </a:lnTo>
                <a:lnTo>
                  <a:pt x="1048" y="86"/>
                </a:lnTo>
                <a:lnTo>
                  <a:pt x="1049" y="90"/>
                </a:lnTo>
                <a:lnTo>
                  <a:pt x="1053" y="97"/>
                </a:lnTo>
                <a:lnTo>
                  <a:pt x="1058" y="103"/>
                </a:lnTo>
                <a:lnTo>
                  <a:pt x="1064" y="106"/>
                </a:lnTo>
                <a:lnTo>
                  <a:pt x="1064" y="118"/>
                </a:lnTo>
                <a:lnTo>
                  <a:pt x="1044" y="118"/>
                </a:lnTo>
                <a:lnTo>
                  <a:pt x="1044" y="134"/>
                </a:lnTo>
                <a:lnTo>
                  <a:pt x="1064" y="134"/>
                </a:lnTo>
                <a:lnTo>
                  <a:pt x="1064" y="218"/>
                </a:lnTo>
                <a:lnTo>
                  <a:pt x="1050" y="216"/>
                </a:lnTo>
                <a:lnTo>
                  <a:pt x="1037" y="211"/>
                </a:lnTo>
                <a:lnTo>
                  <a:pt x="1024" y="203"/>
                </a:lnTo>
                <a:lnTo>
                  <a:pt x="1014" y="195"/>
                </a:lnTo>
                <a:lnTo>
                  <a:pt x="998" y="211"/>
                </a:lnTo>
                <a:close/>
                <a:moveTo>
                  <a:pt x="954" y="118"/>
                </a:moveTo>
                <a:lnTo>
                  <a:pt x="954" y="118"/>
                </a:lnTo>
                <a:lnTo>
                  <a:pt x="956" y="107"/>
                </a:lnTo>
                <a:lnTo>
                  <a:pt x="958" y="94"/>
                </a:lnTo>
                <a:lnTo>
                  <a:pt x="960" y="84"/>
                </a:lnTo>
                <a:lnTo>
                  <a:pt x="964" y="72"/>
                </a:lnTo>
                <a:lnTo>
                  <a:pt x="969" y="62"/>
                </a:lnTo>
                <a:lnTo>
                  <a:pt x="976" y="52"/>
                </a:lnTo>
                <a:lnTo>
                  <a:pt x="982" y="43"/>
                </a:lnTo>
                <a:lnTo>
                  <a:pt x="990" y="35"/>
                </a:lnTo>
                <a:lnTo>
                  <a:pt x="999" y="27"/>
                </a:lnTo>
                <a:lnTo>
                  <a:pt x="1008" y="21"/>
                </a:lnTo>
                <a:lnTo>
                  <a:pt x="1018" y="15"/>
                </a:lnTo>
                <a:lnTo>
                  <a:pt x="1028" y="9"/>
                </a:lnTo>
                <a:lnTo>
                  <a:pt x="1040" y="5"/>
                </a:lnTo>
                <a:lnTo>
                  <a:pt x="1052" y="3"/>
                </a:lnTo>
                <a:lnTo>
                  <a:pt x="1063" y="1"/>
                </a:lnTo>
                <a:lnTo>
                  <a:pt x="1076" y="0"/>
                </a:lnTo>
                <a:lnTo>
                  <a:pt x="1087" y="1"/>
                </a:lnTo>
                <a:lnTo>
                  <a:pt x="1100" y="3"/>
                </a:lnTo>
                <a:lnTo>
                  <a:pt x="1111" y="5"/>
                </a:lnTo>
                <a:lnTo>
                  <a:pt x="1122" y="9"/>
                </a:lnTo>
                <a:lnTo>
                  <a:pt x="1133" y="15"/>
                </a:lnTo>
                <a:lnTo>
                  <a:pt x="1142" y="21"/>
                </a:lnTo>
                <a:lnTo>
                  <a:pt x="1152" y="27"/>
                </a:lnTo>
                <a:lnTo>
                  <a:pt x="1160" y="35"/>
                </a:lnTo>
                <a:lnTo>
                  <a:pt x="1169" y="43"/>
                </a:lnTo>
                <a:lnTo>
                  <a:pt x="1175" y="52"/>
                </a:lnTo>
                <a:lnTo>
                  <a:pt x="1181" y="62"/>
                </a:lnTo>
                <a:lnTo>
                  <a:pt x="1187" y="72"/>
                </a:lnTo>
                <a:lnTo>
                  <a:pt x="1191" y="84"/>
                </a:lnTo>
                <a:lnTo>
                  <a:pt x="1194" y="94"/>
                </a:lnTo>
                <a:lnTo>
                  <a:pt x="1195" y="107"/>
                </a:lnTo>
                <a:lnTo>
                  <a:pt x="1196" y="118"/>
                </a:lnTo>
                <a:lnTo>
                  <a:pt x="1195" y="130"/>
                </a:lnTo>
                <a:lnTo>
                  <a:pt x="1194" y="140"/>
                </a:lnTo>
                <a:lnTo>
                  <a:pt x="1192" y="151"/>
                </a:lnTo>
                <a:lnTo>
                  <a:pt x="1188" y="160"/>
                </a:lnTo>
                <a:lnTo>
                  <a:pt x="1184" y="171"/>
                </a:lnTo>
                <a:lnTo>
                  <a:pt x="1179" y="179"/>
                </a:lnTo>
                <a:lnTo>
                  <a:pt x="1173" y="189"/>
                </a:lnTo>
                <a:lnTo>
                  <a:pt x="1166" y="197"/>
                </a:lnTo>
                <a:lnTo>
                  <a:pt x="1151" y="181"/>
                </a:lnTo>
                <a:lnTo>
                  <a:pt x="1156" y="174"/>
                </a:lnTo>
                <a:lnTo>
                  <a:pt x="1160" y="167"/>
                </a:lnTo>
                <a:lnTo>
                  <a:pt x="1164" y="159"/>
                </a:lnTo>
                <a:lnTo>
                  <a:pt x="1168" y="152"/>
                </a:lnTo>
                <a:lnTo>
                  <a:pt x="1170" y="144"/>
                </a:lnTo>
                <a:lnTo>
                  <a:pt x="1172" y="135"/>
                </a:lnTo>
                <a:lnTo>
                  <a:pt x="1173" y="127"/>
                </a:lnTo>
                <a:lnTo>
                  <a:pt x="1174" y="118"/>
                </a:lnTo>
                <a:lnTo>
                  <a:pt x="1173" y="109"/>
                </a:lnTo>
                <a:lnTo>
                  <a:pt x="1172" y="100"/>
                </a:lnTo>
                <a:lnTo>
                  <a:pt x="1169" y="90"/>
                </a:lnTo>
                <a:lnTo>
                  <a:pt x="1165" y="81"/>
                </a:lnTo>
                <a:lnTo>
                  <a:pt x="1161" y="72"/>
                </a:lnTo>
                <a:lnTo>
                  <a:pt x="1157" y="64"/>
                </a:lnTo>
                <a:lnTo>
                  <a:pt x="1151" y="57"/>
                </a:lnTo>
                <a:lnTo>
                  <a:pt x="1144" y="49"/>
                </a:lnTo>
                <a:lnTo>
                  <a:pt x="1138" y="43"/>
                </a:lnTo>
                <a:lnTo>
                  <a:pt x="1130" y="38"/>
                </a:lnTo>
                <a:lnTo>
                  <a:pt x="1122" y="32"/>
                </a:lnTo>
                <a:lnTo>
                  <a:pt x="1114" y="28"/>
                </a:lnTo>
                <a:lnTo>
                  <a:pt x="1104" y="25"/>
                </a:lnTo>
                <a:lnTo>
                  <a:pt x="1095" y="23"/>
                </a:lnTo>
                <a:lnTo>
                  <a:pt x="1085" y="21"/>
                </a:lnTo>
                <a:lnTo>
                  <a:pt x="1076" y="21"/>
                </a:lnTo>
                <a:lnTo>
                  <a:pt x="1065" y="21"/>
                </a:lnTo>
                <a:lnTo>
                  <a:pt x="1056" y="23"/>
                </a:lnTo>
                <a:lnTo>
                  <a:pt x="1046" y="25"/>
                </a:lnTo>
                <a:lnTo>
                  <a:pt x="1037" y="28"/>
                </a:lnTo>
                <a:lnTo>
                  <a:pt x="1028" y="32"/>
                </a:lnTo>
                <a:lnTo>
                  <a:pt x="1021" y="38"/>
                </a:lnTo>
                <a:lnTo>
                  <a:pt x="1014" y="43"/>
                </a:lnTo>
                <a:lnTo>
                  <a:pt x="1006" y="49"/>
                </a:lnTo>
                <a:lnTo>
                  <a:pt x="1000" y="57"/>
                </a:lnTo>
                <a:lnTo>
                  <a:pt x="995" y="64"/>
                </a:lnTo>
                <a:lnTo>
                  <a:pt x="989" y="72"/>
                </a:lnTo>
                <a:lnTo>
                  <a:pt x="985" y="81"/>
                </a:lnTo>
                <a:lnTo>
                  <a:pt x="982" y="90"/>
                </a:lnTo>
                <a:lnTo>
                  <a:pt x="979" y="100"/>
                </a:lnTo>
                <a:lnTo>
                  <a:pt x="978" y="109"/>
                </a:lnTo>
                <a:lnTo>
                  <a:pt x="978" y="118"/>
                </a:lnTo>
                <a:lnTo>
                  <a:pt x="978" y="127"/>
                </a:lnTo>
                <a:lnTo>
                  <a:pt x="979" y="135"/>
                </a:lnTo>
                <a:lnTo>
                  <a:pt x="981" y="144"/>
                </a:lnTo>
                <a:lnTo>
                  <a:pt x="983" y="152"/>
                </a:lnTo>
                <a:lnTo>
                  <a:pt x="986" y="159"/>
                </a:lnTo>
                <a:lnTo>
                  <a:pt x="990" y="167"/>
                </a:lnTo>
                <a:lnTo>
                  <a:pt x="995" y="174"/>
                </a:lnTo>
                <a:lnTo>
                  <a:pt x="1000" y="181"/>
                </a:lnTo>
                <a:lnTo>
                  <a:pt x="984" y="197"/>
                </a:lnTo>
                <a:lnTo>
                  <a:pt x="978" y="189"/>
                </a:lnTo>
                <a:lnTo>
                  <a:pt x="971" y="179"/>
                </a:lnTo>
                <a:lnTo>
                  <a:pt x="967" y="171"/>
                </a:lnTo>
                <a:lnTo>
                  <a:pt x="963" y="160"/>
                </a:lnTo>
                <a:lnTo>
                  <a:pt x="959" y="151"/>
                </a:lnTo>
                <a:lnTo>
                  <a:pt x="957" y="140"/>
                </a:lnTo>
                <a:lnTo>
                  <a:pt x="956" y="130"/>
                </a:lnTo>
                <a:lnTo>
                  <a:pt x="954" y="118"/>
                </a:lnTo>
                <a:close/>
                <a:moveTo>
                  <a:pt x="851" y="156"/>
                </a:moveTo>
                <a:lnTo>
                  <a:pt x="851" y="82"/>
                </a:lnTo>
                <a:lnTo>
                  <a:pt x="871" y="82"/>
                </a:lnTo>
                <a:lnTo>
                  <a:pt x="871" y="139"/>
                </a:lnTo>
                <a:lnTo>
                  <a:pt x="905" y="139"/>
                </a:lnTo>
                <a:lnTo>
                  <a:pt x="905" y="156"/>
                </a:lnTo>
                <a:lnTo>
                  <a:pt x="851" y="156"/>
                </a:lnTo>
                <a:close/>
                <a:moveTo>
                  <a:pt x="782" y="156"/>
                </a:moveTo>
                <a:lnTo>
                  <a:pt x="836" y="156"/>
                </a:lnTo>
                <a:lnTo>
                  <a:pt x="836" y="139"/>
                </a:lnTo>
                <a:lnTo>
                  <a:pt x="800" y="139"/>
                </a:lnTo>
                <a:lnTo>
                  <a:pt x="800" y="127"/>
                </a:lnTo>
                <a:lnTo>
                  <a:pt x="830" y="127"/>
                </a:lnTo>
                <a:lnTo>
                  <a:pt x="830" y="111"/>
                </a:lnTo>
                <a:lnTo>
                  <a:pt x="800" y="111"/>
                </a:lnTo>
                <a:lnTo>
                  <a:pt x="800" y="99"/>
                </a:lnTo>
                <a:lnTo>
                  <a:pt x="835" y="99"/>
                </a:lnTo>
                <a:lnTo>
                  <a:pt x="835" y="82"/>
                </a:lnTo>
                <a:lnTo>
                  <a:pt x="782" y="82"/>
                </a:lnTo>
                <a:lnTo>
                  <a:pt x="782" y="156"/>
                </a:lnTo>
                <a:close/>
                <a:moveTo>
                  <a:pt x="696" y="120"/>
                </a:moveTo>
                <a:lnTo>
                  <a:pt x="696" y="120"/>
                </a:lnTo>
                <a:lnTo>
                  <a:pt x="697" y="111"/>
                </a:lnTo>
                <a:lnTo>
                  <a:pt x="699" y="104"/>
                </a:lnTo>
                <a:lnTo>
                  <a:pt x="702" y="96"/>
                </a:lnTo>
                <a:lnTo>
                  <a:pt x="707" y="91"/>
                </a:lnTo>
                <a:lnTo>
                  <a:pt x="712" y="86"/>
                </a:lnTo>
                <a:lnTo>
                  <a:pt x="718" y="83"/>
                </a:lnTo>
                <a:lnTo>
                  <a:pt x="725" y="81"/>
                </a:lnTo>
                <a:lnTo>
                  <a:pt x="733" y="80"/>
                </a:lnTo>
                <a:lnTo>
                  <a:pt x="739" y="81"/>
                </a:lnTo>
                <a:lnTo>
                  <a:pt x="745" y="82"/>
                </a:lnTo>
                <a:lnTo>
                  <a:pt x="750" y="84"/>
                </a:lnTo>
                <a:lnTo>
                  <a:pt x="754" y="86"/>
                </a:lnTo>
                <a:lnTo>
                  <a:pt x="758" y="90"/>
                </a:lnTo>
                <a:lnTo>
                  <a:pt x="761" y="94"/>
                </a:lnTo>
                <a:lnTo>
                  <a:pt x="765" y="100"/>
                </a:lnTo>
                <a:lnTo>
                  <a:pt x="766" y="106"/>
                </a:lnTo>
                <a:lnTo>
                  <a:pt x="746" y="106"/>
                </a:lnTo>
                <a:lnTo>
                  <a:pt x="744" y="101"/>
                </a:lnTo>
                <a:lnTo>
                  <a:pt x="741" y="99"/>
                </a:lnTo>
                <a:lnTo>
                  <a:pt x="737" y="96"/>
                </a:lnTo>
                <a:lnTo>
                  <a:pt x="733" y="96"/>
                </a:lnTo>
                <a:lnTo>
                  <a:pt x="730" y="96"/>
                </a:lnTo>
                <a:lnTo>
                  <a:pt x="726" y="99"/>
                </a:lnTo>
                <a:lnTo>
                  <a:pt x="724" y="101"/>
                </a:lnTo>
                <a:lnTo>
                  <a:pt x="720" y="103"/>
                </a:lnTo>
                <a:lnTo>
                  <a:pt x="719" y="106"/>
                </a:lnTo>
                <a:lnTo>
                  <a:pt x="717" y="110"/>
                </a:lnTo>
                <a:lnTo>
                  <a:pt x="716" y="120"/>
                </a:lnTo>
                <a:lnTo>
                  <a:pt x="717" y="129"/>
                </a:lnTo>
                <a:lnTo>
                  <a:pt x="719" y="132"/>
                </a:lnTo>
                <a:lnTo>
                  <a:pt x="721" y="136"/>
                </a:lnTo>
                <a:lnTo>
                  <a:pt x="724" y="138"/>
                </a:lnTo>
                <a:lnTo>
                  <a:pt x="727" y="140"/>
                </a:lnTo>
                <a:lnTo>
                  <a:pt x="730" y="143"/>
                </a:lnTo>
                <a:lnTo>
                  <a:pt x="734" y="143"/>
                </a:lnTo>
                <a:lnTo>
                  <a:pt x="741" y="142"/>
                </a:lnTo>
                <a:lnTo>
                  <a:pt x="747" y="139"/>
                </a:lnTo>
                <a:lnTo>
                  <a:pt x="747" y="129"/>
                </a:lnTo>
                <a:lnTo>
                  <a:pt x="734" y="129"/>
                </a:lnTo>
                <a:lnTo>
                  <a:pt x="734" y="115"/>
                </a:lnTo>
                <a:lnTo>
                  <a:pt x="766" y="115"/>
                </a:lnTo>
                <a:lnTo>
                  <a:pt x="766" y="148"/>
                </a:lnTo>
                <a:lnTo>
                  <a:pt x="758" y="153"/>
                </a:lnTo>
                <a:lnTo>
                  <a:pt x="751" y="156"/>
                </a:lnTo>
                <a:lnTo>
                  <a:pt x="742" y="158"/>
                </a:lnTo>
                <a:lnTo>
                  <a:pt x="736" y="159"/>
                </a:lnTo>
                <a:lnTo>
                  <a:pt x="727" y="158"/>
                </a:lnTo>
                <a:lnTo>
                  <a:pt x="719" y="156"/>
                </a:lnTo>
                <a:lnTo>
                  <a:pt x="712" y="153"/>
                </a:lnTo>
                <a:lnTo>
                  <a:pt x="707" y="149"/>
                </a:lnTo>
                <a:lnTo>
                  <a:pt x="702" y="143"/>
                </a:lnTo>
                <a:lnTo>
                  <a:pt x="699" y="136"/>
                </a:lnTo>
                <a:lnTo>
                  <a:pt x="697" y="128"/>
                </a:lnTo>
                <a:lnTo>
                  <a:pt x="696" y="120"/>
                </a:lnTo>
                <a:close/>
                <a:moveTo>
                  <a:pt x="644" y="130"/>
                </a:moveTo>
                <a:lnTo>
                  <a:pt x="654" y="102"/>
                </a:lnTo>
                <a:lnTo>
                  <a:pt x="663" y="130"/>
                </a:lnTo>
                <a:lnTo>
                  <a:pt x="644" y="130"/>
                </a:lnTo>
                <a:close/>
                <a:moveTo>
                  <a:pt x="615" y="156"/>
                </a:moveTo>
                <a:lnTo>
                  <a:pt x="636" y="156"/>
                </a:lnTo>
                <a:lnTo>
                  <a:pt x="639" y="145"/>
                </a:lnTo>
                <a:lnTo>
                  <a:pt x="669" y="145"/>
                </a:lnTo>
                <a:lnTo>
                  <a:pt x="673" y="156"/>
                </a:lnTo>
                <a:lnTo>
                  <a:pt x="693" y="156"/>
                </a:lnTo>
                <a:lnTo>
                  <a:pt x="664" y="82"/>
                </a:lnTo>
                <a:lnTo>
                  <a:pt x="643" y="82"/>
                </a:lnTo>
                <a:lnTo>
                  <a:pt x="615" y="156"/>
                </a:lnTo>
                <a:close/>
                <a:moveTo>
                  <a:pt x="541" y="156"/>
                </a:moveTo>
                <a:lnTo>
                  <a:pt x="559" y="156"/>
                </a:lnTo>
                <a:lnTo>
                  <a:pt x="559" y="112"/>
                </a:lnTo>
                <a:lnTo>
                  <a:pt x="585" y="156"/>
                </a:lnTo>
                <a:lnTo>
                  <a:pt x="606" y="156"/>
                </a:lnTo>
                <a:lnTo>
                  <a:pt x="606" y="82"/>
                </a:lnTo>
                <a:lnTo>
                  <a:pt x="587" y="82"/>
                </a:lnTo>
                <a:lnTo>
                  <a:pt x="587" y="126"/>
                </a:lnTo>
                <a:lnTo>
                  <a:pt x="561" y="82"/>
                </a:lnTo>
                <a:lnTo>
                  <a:pt x="541" y="82"/>
                </a:lnTo>
                <a:lnTo>
                  <a:pt x="541" y="156"/>
                </a:lnTo>
                <a:close/>
                <a:moveTo>
                  <a:pt x="457" y="127"/>
                </a:moveTo>
                <a:lnTo>
                  <a:pt x="457" y="117"/>
                </a:lnTo>
                <a:lnTo>
                  <a:pt x="486" y="117"/>
                </a:lnTo>
                <a:lnTo>
                  <a:pt x="486" y="87"/>
                </a:lnTo>
                <a:lnTo>
                  <a:pt x="498" y="87"/>
                </a:lnTo>
                <a:lnTo>
                  <a:pt x="498" y="117"/>
                </a:lnTo>
                <a:lnTo>
                  <a:pt x="527" y="117"/>
                </a:lnTo>
                <a:lnTo>
                  <a:pt x="527" y="127"/>
                </a:lnTo>
                <a:lnTo>
                  <a:pt x="498" y="127"/>
                </a:lnTo>
                <a:lnTo>
                  <a:pt x="498" y="156"/>
                </a:lnTo>
                <a:lnTo>
                  <a:pt x="486" y="156"/>
                </a:lnTo>
                <a:lnTo>
                  <a:pt x="486" y="127"/>
                </a:lnTo>
                <a:lnTo>
                  <a:pt x="457" y="127"/>
                </a:lnTo>
                <a:close/>
                <a:moveTo>
                  <a:pt x="392" y="156"/>
                </a:moveTo>
                <a:lnTo>
                  <a:pt x="448" y="156"/>
                </a:lnTo>
                <a:lnTo>
                  <a:pt x="448" y="139"/>
                </a:lnTo>
                <a:lnTo>
                  <a:pt x="411" y="139"/>
                </a:lnTo>
                <a:lnTo>
                  <a:pt x="411" y="127"/>
                </a:lnTo>
                <a:lnTo>
                  <a:pt x="442" y="127"/>
                </a:lnTo>
                <a:lnTo>
                  <a:pt x="442" y="111"/>
                </a:lnTo>
                <a:lnTo>
                  <a:pt x="411" y="111"/>
                </a:lnTo>
                <a:lnTo>
                  <a:pt x="411" y="99"/>
                </a:lnTo>
                <a:lnTo>
                  <a:pt x="446" y="99"/>
                </a:lnTo>
                <a:lnTo>
                  <a:pt x="446" y="82"/>
                </a:lnTo>
                <a:lnTo>
                  <a:pt x="392" y="82"/>
                </a:lnTo>
                <a:lnTo>
                  <a:pt x="392" y="156"/>
                </a:lnTo>
                <a:close/>
                <a:moveTo>
                  <a:pt x="309" y="156"/>
                </a:moveTo>
                <a:lnTo>
                  <a:pt x="328" y="156"/>
                </a:lnTo>
                <a:lnTo>
                  <a:pt x="328" y="112"/>
                </a:lnTo>
                <a:lnTo>
                  <a:pt x="354" y="156"/>
                </a:lnTo>
                <a:lnTo>
                  <a:pt x="374" y="156"/>
                </a:lnTo>
                <a:lnTo>
                  <a:pt x="374" y="82"/>
                </a:lnTo>
                <a:lnTo>
                  <a:pt x="356" y="82"/>
                </a:lnTo>
                <a:lnTo>
                  <a:pt x="356" y="126"/>
                </a:lnTo>
                <a:lnTo>
                  <a:pt x="329" y="82"/>
                </a:lnTo>
                <a:lnTo>
                  <a:pt x="309" y="82"/>
                </a:lnTo>
                <a:lnTo>
                  <a:pt x="309" y="156"/>
                </a:lnTo>
                <a:close/>
                <a:moveTo>
                  <a:pt x="226" y="156"/>
                </a:moveTo>
                <a:lnTo>
                  <a:pt x="246" y="156"/>
                </a:lnTo>
                <a:lnTo>
                  <a:pt x="246" y="128"/>
                </a:lnTo>
                <a:lnTo>
                  <a:pt x="272" y="128"/>
                </a:lnTo>
                <a:lnTo>
                  <a:pt x="272" y="156"/>
                </a:lnTo>
                <a:lnTo>
                  <a:pt x="292" y="156"/>
                </a:lnTo>
                <a:lnTo>
                  <a:pt x="292" y="82"/>
                </a:lnTo>
                <a:lnTo>
                  <a:pt x="272" y="82"/>
                </a:lnTo>
                <a:lnTo>
                  <a:pt x="272" y="110"/>
                </a:lnTo>
                <a:lnTo>
                  <a:pt x="246" y="110"/>
                </a:lnTo>
                <a:lnTo>
                  <a:pt x="246" y="82"/>
                </a:lnTo>
                <a:lnTo>
                  <a:pt x="226" y="82"/>
                </a:lnTo>
                <a:lnTo>
                  <a:pt x="226" y="156"/>
                </a:lnTo>
                <a:close/>
                <a:moveTo>
                  <a:pt x="155" y="156"/>
                </a:moveTo>
                <a:lnTo>
                  <a:pt x="211" y="156"/>
                </a:lnTo>
                <a:lnTo>
                  <a:pt x="211" y="139"/>
                </a:lnTo>
                <a:lnTo>
                  <a:pt x="174" y="139"/>
                </a:lnTo>
                <a:lnTo>
                  <a:pt x="174" y="127"/>
                </a:lnTo>
                <a:lnTo>
                  <a:pt x="205" y="127"/>
                </a:lnTo>
                <a:lnTo>
                  <a:pt x="205" y="111"/>
                </a:lnTo>
                <a:lnTo>
                  <a:pt x="174" y="111"/>
                </a:lnTo>
                <a:lnTo>
                  <a:pt x="174" y="99"/>
                </a:lnTo>
                <a:lnTo>
                  <a:pt x="209" y="99"/>
                </a:lnTo>
                <a:lnTo>
                  <a:pt x="209" y="82"/>
                </a:lnTo>
                <a:lnTo>
                  <a:pt x="155" y="82"/>
                </a:lnTo>
                <a:lnTo>
                  <a:pt x="155" y="156"/>
                </a:lnTo>
                <a:close/>
                <a:moveTo>
                  <a:pt x="74" y="126"/>
                </a:moveTo>
                <a:lnTo>
                  <a:pt x="74" y="126"/>
                </a:lnTo>
                <a:lnTo>
                  <a:pt x="74" y="134"/>
                </a:lnTo>
                <a:lnTo>
                  <a:pt x="76" y="142"/>
                </a:lnTo>
                <a:lnTo>
                  <a:pt x="79" y="147"/>
                </a:lnTo>
                <a:lnTo>
                  <a:pt x="83" y="151"/>
                </a:lnTo>
                <a:lnTo>
                  <a:pt x="89" y="155"/>
                </a:lnTo>
                <a:lnTo>
                  <a:pt x="94" y="157"/>
                </a:lnTo>
                <a:lnTo>
                  <a:pt x="99" y="158"/>
                </a:lnTo>
                <a:lnTo>
                  <a:pt x="107" y="159"/>
                </a:lnTo>
                <a:lnTo>
                  <a:pt x="113" y="158"/>
                </a:lnTo>
                <a:lnTo>
                  <a:pt x="118" y="157"/>
                </a:lnTo>
                <a:lnTo>
                  <a:pt x="124" y="155"/>
                </a:lnTo>
                <a:lnTo>
                  <a:pt x="129" y="151"/>
                </a:lnTo>
                <a:lnTo>
                  <a:pt x="133" y="147"/>
                </a:lnTo>
                <a:lnTo>
                  <a:pt x="136" y="142"/>
                </a:lnTo>
                <a:lnTo>
                  <a:pt x="138" y="134"/>
                </a:lnTo>
                <a:lnTo>
                  <a:pt x="138" y="126"/>
                </a:lnTo>
                <a:lnTo>
                  <a:pt x="138" y="82"/>
                </a:lnTo>
                <a:lnTo>
                  <a:pt x="118" y="82"/>
                </a:lnTo>
                <a:lnTo>
                  <a:pt x="118" y="129"/>
                </a:lnTo>
                <a:lnTo>
                  <a:pt x="117" y="134"/>
                </a:lnTo>
                <a:lnTo>
                  <a:pt x="115" y="138"/>
                </a:lnTo>
                <a:lnTo>
                  <a:pt x="112" y="142"/>
                </a:lnTo>
                <a:lnTo>
                  <a:pt x="107" y="142"/>
                </a:lnTo>
                <a:lnTo>
                  <a:pt x="100" y="142"/>
                </a:lnTo>
                <a:lnTo>
                  <a:pt x="97" y="138"/>
                </a:lnTo>
                <a:lnTo>
                  <a:pt x="94" y="134"/>
                </a:lnTo>
                <a:lnTo>
                  <a:pt x="94" y="129"/>
                </a:lnTo>
                <a:lnTo>
                  <a:pt x="94" y="82"/>
                </a:lnTo>
                <a:lnTo>
                  <a:pt x="74" y="82"/>
                </a:lnTo>
                <a:lnTo>
                  <a:pt x="74" y="126"/>
                </a:lnTo>
                <a:close/>
                <a:moveTo>
                  <a:pt x="0" y="156"/>
                </a:moveTo>
                <a:lnTo>
                  <a:pt x="20" y="156"/>
                </a:lnTo>
                <a:lnTo>
                  <a:pt x="20" y="135"/>
                </a:lnTo>
                <a:lnTo>
                  <a:pt x="26" y="127"/>
                </a:lnTo>
                <a:lnTo>
                  <a:pt x="43" y="156"/>
                </a:lnTo>
                <a:lnTo>
                  <a:pt x="66" y="156"/>
                </a:lnTo>
                <a:lnTo>
                  <a:pt x="40" y="112"/>
                </a:lnTo>
                <a:lnTo>
                  <a:pt x="63" y="82"/>
                </a:lnTo>
                <a:lnTo>
                  <a:pt x="40" y="82"/>
                </a:lnTo>
                <a:lnTo>
                  <a:pt x="20" y="109"/>
                </a:lnTo>
                <a:lnTo>
                  <a:pt x="20" y="82"/>
                </a:lnTo>
                <a:lnTo>
                  <a:pt x="0" y="82"/>
                </a:lnTo>
                <a:lnTo>
                  <a:pt x="0" y="1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Text Placeholder 5"/>
          <p:cNvSpPr>
            <a:spLocks noGrp="1"/>
          </p:cNvSpPr>
          <p:nvPr>
            <p:ph type="body" sz="quarter" idx="14"/>
          </p:nvPr>
        </p:nvSpPr>
        <p:spPr>
          <a:xfrm>
            <a:off x="550862" y="2934943"/>
            <a:ext cx="2448000" cy="576000"/>
          </a:xfrm>
          <a:prstGeom prst="rect">
            <a:avLst/>
          </a:prstGeom>
        </p:spPr>
        <p:txBody>
          <a:bodyPr>
            <a:noAutofit/>
          </a:bodyPr>
          <a:lstStyle>
            <a:lvl1pPr marL="0" indent="0">
              <a:lnSpc>
                <a:spcPct val="100000"/>
              </a:lnSpc>
              <a:spcBef>
                <a:spcPts val="0"/>
              </a:spcBef>
              <a:buNone/>
              <a:defRPr sz="3600" b="1" i="0" baseline="0">
                <a:solidFill>
                  <a:schemeClr val="accent3"/>
                </a:solidFill>
              </a:defRPr>
            </a:lvl1pPr>
          </a:lstStyle>
          <a:p>
            <a:pPr lvl="0"/>
            <a:r>
              <a:rPr lang="en-US" noProof="0"/>
              <a:t>Click to edit Master text styles</a:t>
            </a:r>
          </a:p>
        </p:txBody>
      </p:sp>
      <p:sp>
        <p:nvSpPr>
          <p:cNvPr id="10" name="Text Placeholder 5"/>
          <p:cNvSpPr>
            <a:spLocks noGrp="1"/>
          </p:cNvSpPr>
          <p:nvPr>
            <p:ph type="body" sz="quarter" idx="15"/>
          </p:nvPr>
        </p:nvSpPr>
        <p:spPr>
          <a:xfrm>
            <a:off x="4876966" y="2934943"/>
            <a:ext cx="2448000" cy="576000"/>
          </a:xfrm>
          <a:prstGeom prst="rect">
            <a:avLst/>
          </a:prstGeom>
        </p:spPr>
        <p:txBody>
          <a:bodyPr>
            <a:noAutofit/>
          </a:bodyPr>
          <a:lstStyle>
            <a:lvl1pPr marL="0" indent="0">
              <a:lnSpc>
                <a:spcPct val="100000"/>
              </a:lnSpc>
              <a:spcBef>
                <a:spcPts val="0"/>
              </a:spcBef>
              <a:buNone/>
              <a:defRPr sz="3600" b="1" i="0" baseline="0">
                <a:solidFill>
                  <a:schemeClr val="accent3"/>
                </a:solidFill>
              </a:defRPr>
            </a:lvl1pPr>
          </a:lstStyle>
          <a:p>
            <a:pPr lvl="0"/>
            <a:r>
              <a:rPr lang="en-US" noProof="0"/>
              <a:t>Click to edit Master text styles</a:t>
            </a:r>
          </a:p>
        </p:txBody>
      </p:sp>
      <p:sp>
        <p:nvSpPr>
          <p:cNvPr id="12" name="Text Placeholder 5"/>
          <p:cNvSpPr>
            <a:spLocks noGrp="1"/>
          </p:cNvSpPr>
          <p:nvPr>
            <p:ph type="body" sz="quarter" idx="16"/>
          </p:nvPr>
        </p:nvSpPr>
        <p:spPr>
          <a:xfrm>
            <a:off x="9194193" y="2934943"/>
            <a:ext cx="2448000" cy="576000"/>
          </a:xfrm>
          <a:prstGeom prst="rect">
            <a:avLst/>
          </a:prstGeom>
        </p:spPr>
        <p:txBody>
          <a:bodyPr>
            <a:noAutofit/>
          </a:bodyPr>
          <a:lstStyle>
            <a:lvl1pPr marL="0" indent="0">
              <a:lnSpc>
                <a:spcPct val="100000"/>
              </a:lnSpc>
              <a:spcBef>
                <a:spcPts val="0"/>
              </a:spcBef>
              <a:buNone/>
              <a:defRPr sz="3600" b="1" i="0" baseline="0">
                <a:solidFill>
                  <a:schemeClr val="accent3"/>
                </a:solidFill>
              </a:defRPr>
            </a:lvl1pPr>
          </a:lstStyle>
          <a:p>
            <a:pPr lvl="0"/>
            <a:r>
              <a:rPr lang="en-US" noProof="0"/>
              <a:t>Click to edit Master text styles</a:t>
            </a:r>
          </a:p>
        </p:txBody>
      </p:sp>
      <p:sp>
        <p:nvSpPr>
          <p:cNvPr id="13" name="Text Placeholder 2"/>
          <p:cNvSpPr>
            <a:spLocks noGrp="1"/>
          </p:cNvSpPr>
          <p:nvPr>
            <p:ph type="body" sz="quarter" idx="17"/>
          </p:nvPr>
        </p:nvSpPr>
        <p:spPr>
          <a:xfrm>
            <a:off x="550865" y="3526001"/>
            <a:ext cx="2448000" cy="864000"/>
          </a:xfrm>
          <a:prstGeom prst="rect">
            <a:avLst/>
          </a:prstGeom>
        </p:spPr>
        <p:txBody>
          <a:bodyPr>
            <a:noAutofit/>
          </a:bodyPr>
          <a:lstStyle>
            <a:lvl1pPr marL="0" indent="0" algn="l">
              <a:lnSpc>
                <a:spcPct val="100000"/>
              </a:lnSpc>
              <a:spcBef>
                <a:spcPts val="0"/>
              </a:spcBef>
              <a:buNone/>
              <a:defRPr sz="1600" b="0" baseline="0">
                <a:solidFill>
                  <a:schemeClr val="bg1"/>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4" name="Text Placeholder 2"/>
          <p:cNvSpPr>
            <a:spLocks noGrp="1"/>
          </p:cNvSpPr>
          <p:nvPr>
            <p:ph type="body" sz="quarter" idx="18"/>
          </p:nvPr>
        </p:nvSpPr>
        <p:spPr>
          <a:xfrm>
            <a:off x="4876969" y="3526001"/>
            <a:ext cx="2448000" cy="864000"/>
          </a:xfrm>
          <a:prstGeom prst="rect">
            <a:avLst/>
          </a:prstGeom>
        </p:spPr>
        <p:txBody>
          <a:bodyPr>
            <a:noAutofit/>
          </a:bodyPr>
          <a:lstStyle>
            <a:lvl1pPr marL="0" indent="0" algn="l">
              <a:lnSpc>
                <a:spcPct val="100000"/>
              </a:lnSpc>
              <a:spcBef>
                <a:spcPts val="0"/>
              </a:spcBef>
              <a:buNone/>
              <a:defRPr sz="1600" b="0" baseline="0">
                <a:solidFill>
                  <a:schemeClr val="bg1"/>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5" name="Text Placeholder 2"/>
          <p:cNvSpPr>
            <a:spLocks noGrp="1"/>
          </p:cNvSpPr>
          <p:nvPr>
            <p:ph type="body" sz="quarter" idx="19"/>
          </p:nvPr>
        </p:nvSpPr>
        <p:spPr>
          <a:xfrm>
            <a:off x="9194195" y="3526001"/>
            <a:ext cx="2448000" cy="864000"/>
          </a:xfrm>
          <a:prstGeom prst="rect">
            <a:avLst/>
          </a:prstGeom>
        </p:spPr>
        <p:txBody>
          <a:bodyPr>
            <a:noAutofit/>
          </a:bodyPr>
          <a:lstStyle>
            <a:lvl1pPr marL="0" indent="0" algn="l">
              <a:lnSpc>
                <a:spcPct val="100000"/>
              </a:lnSpc>
              <a:spcBef>
                <a:spcPts val="0"/>
              </a:spcBef>
              <a:buNone/>
              <a:defRPr sz="1600" b="0" baseline="0">
                <a:solidFill>
                  <a:schemeClr val="bg1"/>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16" name="Text Placeholder 5"/>
          <p:cNvSpPr>
            <a:spLocks noGrp="1"/>
          </p:cNvSpPr>
          <p:nvPr>
            <p:ph type="body" sz="quarter" idx="20"/>
          </p:nvPr>
        </p:nvSpPr>
        <p:spPr>
          <a:xfrm>
            <a:off x="550862" y="4841163"/>
            <a:ext cx="2448000" cy="576000"/>
          </a:xfrm>
          <a:prstGeom prst="rect">
            <a:avLst/>
          </a:prstGeom>
        </p:spPr>
        <p:txBody>
          <a:bodyPr>
            <a:noAutofit/>
          </a:bodyPr>
          <a:lstStyle>
            <a:lvl1pPr marL="0" indent="0">
              <a:lnSpc>
                <a:spcPct val="100000"/>
              </a:lnSpc>
              <a:spcBef>
                <a:spcPts val="0"/>
              </a:spcBef>
              <a:buNone/>
              <a:defRPr sz="3600" b="1" i="0" baseline="0">
                <a:solidFill>
                  <a:schemeClr val="accent3"/>
                </a:solidFill>
              </a:defRPr>
            </a:lvl1pPr>
          </a:lstStyle>
          <a:p>
            <a:pPr lvl="0"/>
            <a:r>
              <a:rPr lang="en-US" noProof="0"/>
              <a:t>Click to edit Master text styles</a:t>
            </a:r>
          </a:p>
        </p:txBody>
      </p:sp>
      <p:sp>
        <p:nvSpPr>
          <p:cNvPr id="17" name="Text Placeholder 5"/>
          <p:cNvSpPr>
            <a:spLocks noGrp="1"/>
          </p:cNvSpPr>
          <p:nvPr>
            <p:ph type="body" sz="quarter" idx="21"/>
          </p:nvPr>
        </p:nvSpPr>
        <p:spPr>
          <a:xfrm>
            <a:off x="4876966" y="4841163"/>
            <a:ext cx="2448000" cy="576000"/>
          </a:xfrm>
          <a:prstGeom prst="rect">
            <a:avLst/>
          </a:prstGeom>
        </p:spPr>
        <p:txBody>
          <a:bodyPr>
            <a:noAutofit/>
          </a:bodyPr>
          <a:lstStyle>
            <a:lvl1pPr marL="0" indent="0">
              <a:lnSpc>
                <a:spcPct val="100000"/>
              </a:lnSpc>
              <a:spcBef>
                <a:spcPts val="0"/>
              </a:spcBef>
              <a:buNone/>
              <a:defRPr sz="3600" b="1" i="0" baseline="0">
                <a:solidFill>
                  <a:schemeClr val="accent3"/>
                </a:solidFill>
              </a:defRPr>
            </a:lvl1pPr>
          </a:lstStyle>
          <a:p>
            <a:pPr lvl="0"/>
            <a:r>
              <a:rPr lang="en-US" noProof="0"/>
              <a:t>Click to edit Master text styles</a:t>
            </a:r>
          </a:p>
        </p:txBody>
      </p:sp>
      <p:sp>
        <p:nvSpPr>
          <p:cNvPr id="18" name="Text Placeholder 5"/>
          <p:cNvSpPr>
            <a:spLocks noGrp="1"/>
          </p:cNvSpPr>
          <p:nvPr>
            <p:ph type="body" sz="quarter" idx="22"/>
          </p:nvPr>
        </p:nvSpPr>
        <p:spPr>
          <a:xfrm>
            <a:off x="9194193" y="4841163"/>
            <a:ext cx="2448000" cy="576000"/>
          </a:xfrm>
          <a:prstGeom prst="rect">
            <a:avLst/>
          </a:prstGeom>
        </p:spPr>
        <p:txBody>
          <a:bodyPr>
            <a:noAutofit/>
          </a:bodyPr>
          <a:lstStyle>
            <a:lvl1pPr marL="0" indent="0">
              <a:lnSpc>
                <a:spcPct val="100000"/>
              </a:lnSpc>
              <a:spcBef>
                <a:spcPts val="0"/>
              </a:spcBef>
              <a:buNone/>
              <a:defRPr sz="3600" b="1" i="0" baseline="0">
                <a:solidFill>
                  <a:schemeClr val="accent3"/>
                </a:solidFill>
              </a:defRPr>
            </a:lvl1pPr>
          </a:lstStyle>
          <a:p>
            <a:pPr lvl="0"/>
            <a:r>
              <a:rPr lang="en-US" noProof="0"/>
              <a:t>Click to edit Master text styles</a:t>
            </a:r>
          </a:p>
        </p:txBody>
      </p:sp>
      <p:sp>
        <p:nvSpPr>
          <p:cNvPr id="19" name="Text Placeholder 2"/>
          <p:cNvSpPr>
            <a:spLocks noGrp="1"/>
          </p:cNvSpPr>
          <p:nvPr>
            <p:ph type="body" sz="quarter" idx="23"/>
          </p:nvPr>
        </p:nvSpPr>
        <p:spPr>
          <a:xfrm>
            <a:off x="550865" y="5441103"/>
            <a:ext cx="2448000" cy="864000"/>
          </a:xfrm>
          <a:prstGeom prst="rect">
            <a:avLst/>
          </a:prstGeom>
        </p:spPr>
        <p:txBody>
          <a:bodyPr>
            <a:noAutofit/>
          </a:bodyPr>
          <a:lstStyle>
            <a:lvl1pPr marL="0" indent="0" algn="l">
              <a:lnSpc>
                <a:spcPct val="100000"/>
              </a:lnSpc>
              <a:spcBef>
                <a:spcPts val="0"/>
              </a:spcBef>
              <a:buNone/>
              <a:defRPr sz="1600" b="0" baseline="0">
                <a:solidFill>
                  <a:schemeClr val="bg1"/>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20" name="Text Placeholder 2"/>
          <p:cNvSpPr>
            <a:spLocks noGrp="1"/>
          </p:cNvSpPr>
          <p:nvPr>
            <p:ph type="body" sz="quarter" idx="24"/>
          </p:nvPr>
        </p:nvSpPr>
        <p:spPr>
          <a:xfrm>
            <a:off x="4876966" y="5441103"/>
            <a:ext cx="2448000" cy="864000"/>
          </a:xfrm>
          <a:prstGeom prst="rect">
            <a:avLst/>
          </a:prstGeom>
        </p:spPr>
        <p:txBody>
          <a:bodyPr>
            <a:noAutofit/>
          </a:bodyPr>
          <a:lstStyle>
            <a:lvl1pPr marL="0" indent="0" algn="l">
              <a:lnSpc>
                <a:spcPct val="100000"/>
              </a:lnSpc>
              <a:spcBef>
                <a:spcPts val="0"/>
              </a:spcBef>
              <a:buNone/>
              <a:defRPr sz="1600" b="0" baseline="0">
                <a:solidFill>
                  <a:schemeClr val="bg1"/>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21" name="Text Placeholder 2"/>
          <p:cNvSpPr>
            <a:spLocks noGrp="1"/>
          </p:cNvSpPr>
          <p:nvPr>
            <p:ph type="body" sz="quarter" idx="25"/>
          </p:nvPr>
        </p:nvSpPr>
        <p:spPr>
          <a:xfrm>
            <a:off x="9194195" y="5441103"/>
            <a:ext cx="2448000" cy="864000"/>
          </a:xfrm>
          <a:prstGeom prst="rect">
            <a:avLst/>
          </a:prstGeom>
        </p:spPr>
        <p:txBody>
          <a:bodyPr>
            <a:noAutofit/>
          </a:bodyPr>
          <a:lstStyle>
            <a:lvl1pPr marL="0" indent="0" algn="l">
              <a:lnSpc>
                <a:spcPct val="100000"/>
              </a:lnSpc>
              <a:spcBef>
                <a:spcPts val="0"/>
              </a:spcBef>
              <a:buNone/>
              <a:defRPr sz="1600" b="0" baseline="0">
                <a:solidFill>
                  <a:schemeClr val="bg1"/>
                </a:solidFill>
              </a:defRPr>
            </a:lvl1pPr>
            <a:lvl2pPr marL="457189" indent="0">
              <a:buNone/>
              <a:defRPr sz="1800"/>
            </a:lvl2pPr>
            <a:lvl3pPr marL="914377" indent="0">
              <a:buNone/>
              <a:defRPr sz="1800"/>
            </a:lvl3pPr>
            <a:lvl4pPr marL="1371566" indent="0">
              <a:buNone/>
              <a:defRPr sz="1800"/>
            </a:lvl4pPr>
            <a:lvl5pPr marL="1828755" indent="0">
              <a:buNone/>
              <a:defRPr sz="1800"/>
            </a:lvl5pPr>
          </a:lstStyle>
          <a:p>
            <a:pPr lvl="0"/>
            <a:r>
              <a:rPr lang="en-US" noProof="0"/>
              <a:t>Click to edit Master text styles</a:t>
            </a:r>
          </a:p>
        </p:txBody>
      </p:sp>
      <p:sp>
        <p:nvSpPr>
          <p:cNvPr id="22" name="Titel 4"/>
          <p:cNvSpPr>
            <a:spLocks noGrp="1"/>
          </p:cNvSpPr>
          <p:nvPr>
            <p:ph type="title"/>
          </p:nvPr>
        </p:nvSpPr>
        <p:spPr>
          <a:xfrm>
            <a:off x="553321" y="550779"/>
            <a:ext cx="8314454" cy="864136"/>
          </a:xfrm>
        </p:spPr>
        <p:txBody>
          <a:bodyPr/>
          <a:lstStyle>
            <a:lvl1pPr>
              <a:defRPr>
                <a:solidFill>
                  <a:schemeClr val="bg1"/>
                </a:solidFill>
              </a:defRPr>
            </a:lvl1pPr>
          </a:lstStyle>
          <a:p>
            <a:pPr lvl="0"/>
            <a:r>
              <a:rPr lang="en-US" noProof="0"/>
              <a:t>Click to edit Master title style</a:t>
            </a:r>
            <a:endParaRPr lang="de-DE" dirty="0"/>
          </a:p>
        </p:txBody>
      </p:sp>
      <p:sp>
        <p:nvSpPr>
          <p:cNvPr id="4" name="Slide Number Placeholder 3">
            <a:extLst>
              <a:ext uri="{FF2B5EF4-FFF2-40B4-BE49-F238E27FC236}">
                <a16:creationId xmlns:a16="http://schemas.microsoft.com/office/drawing/2014/main" id="{72D923D1-40C1-CD87-D274-EF7CA8F9E934}"/>
              </a:ext>
            </a:extLst>
          </p:cNvPr>
          <p:cNvSpPr>
            <a:spLocks noGrp="1"/>
          </p:cNvSpPr>
          <p:nvPr>
            <p:ph type="sldNum" sz="quarter" idx="26"/>
          </p:nvPr>
        </p:nvSpPr>
        <p:spPr/>
        <p:txBody>
          <a:bodyPr/>
          <a:lstStyle>
            <a:lvl1pPr algn="r">
              <a:defRPr sz="1000">
                <a:solidFill>
                  <a:schemeClr val="bg1"/>
                </a:solidFill>
              </a:defRPr>
            </a:lvl1pPr>
          </a:lstStyle>
          <a:p>
            <a:pPr>
              <a:defRPr/>
            </a:pPr>
            <a:fld id="{127FAF20-DE06-4425-AAC4-3504D0E46C2B}" type="slidenum">
              <a:rPr lang="en-GB"/>
              <a:pPr>
                <a:defRPr/>
              </a:pPr>
              <a:t>‹#›</a:t>
            </a:fld>
            <a:endParaRPr lang="en-GB" dirty="0"/>
          </a:p>
        </p:txBody>
      </p:sp>
    </p:spTree>
    <p:extLst>
      <p:ext uri="{BB962C8B-B14F-4D97-AF65-F5344CB8AC3E}">
        <p14:creationId xmlns:p14="http://schemas.microsoft.com/office/powerpoint/2010/main" val="882882287"/>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Agenda_2columns_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A8FB721-BDDF-FB48-90B8-55481CA2A338}"/>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351"/>
          </a:p>
        </p:txBody>
      </p:sp>
      <p:sp>
        <p:nvSpPr>
          <p:cNvPr id="3" name="Slide Number Placeholder 3"/>
          <p:cNvSpPr>
            <a:spLocks noGrp="1"/>
          </p:cNvSpPr>
          <p:nvPr>
            <p:ph type="sldNum" sz="quarter" idx="12"/>
          </p:nvPr>
        </p:nvSpPr>
        <p:spPr>
          <a:xfrm>
            <a:off x="9574315" y="6308726"/>
            <a:ext cx="2057400" cy="274637"/>
          </a:xfrm>
          <a:prstGeom prst="rect">
            <a:avLst/>
          </a:prstGeom>
        </p:spPr>
        <p:txBody>
          <a:bodyPr/>
          <a:lstStyle>
            <a:lvl1pPr algn="r">
              <a:defRPr sz="1000">
                <a:solidFill>
                  <a:schemeClr val="bg1"/>
                </a:solidFill>
              </a:defRPr>
            </a:lvl1pPr>
          </a:lstStyle>
          <a:p>
            <a:fld id="{233A6FC5-1036-43C3-853B-572AC8189C00}" type="slidenum">
              <a:rPr lang="en-GB" noProof="0" smtClean="0"/>
              <a:pPr/>
              <a:t>‹#›</a:t>
            </a:fld>
            <a:endParaRPr lang="en-GB" noProof="0" dirty="0"/>
          </a:p>
        </p:txBody>
      </p:sp>
      <p:sp>
        <p:nvSpPr>
          <p:cNvPr id="9" name="Text Placeholder 5"/>
          <p:cNvSpPr>
            <a:spLocks noGrp="1"/>
          </p:cNvSpPr>
          <p:nvPr>
            <p:ph type="body" sz="quarter" idx="14" hasCustomPrompt="1"/>
          </p:nvPr>
        </p:nvSpPr>
        <p:spPr>
          <a:xfrm>
            <a:off x="3321164" y="1991198"/>
            <a:ext cx="3960000" cy="4317528"/>
          </a:xfrm>
          <a:prstGeom prst="rect">
            <a:avLst/>
          </a:prstGeom>
        </p:spPr>
        <p:txBody>
          <a:bodyPr lIns="0" anchor="t">
            <a:noAutofit/>
          </a:bodyPr>
          <a:lstStyle>
            <a:lvl1pPr marL="342900" indent="-342900">
              <a:lnSpc>
                <a:spcPct val="175000"/>
              </a:lnSpc>
              <a:spcBef>
                <a:spcPts val="0"/>
              </a:spcBef>
              <a:buFont typeface="+mj-lt"/>
              <a:buAutoNum type="arabicPeriod"/>
              <a:defRPr sz="1800" b="1" i="0" baseline="0">
                <a:solidFill>
                  <a:schemeClr val="bg1"/>
                </a:solidFill>
              </a:defRPr>
            </a:lvl1pPr>
          </a:lstStyle>
          <a:p>
            <a:pPr lvl="0"/>
            <a:r>
              <a:rPr lang="en-GB" noProof="0" dirty="0"/>
              <a:t>Item 1 (18pt)</a:t>
            </a:r>
          </a:p>
        </p:txBody>
      </p:sp>
      <p:sp>
        <p:nvSpPr>
          <p:cNvPr id="10" name="Text Placeholder 5"/>
          <p:cNvSpPr>
            <a:spLocks noGrp="1"/>
          </p:cNvSpPr>
          <p:nvPr>
            <p:ph type="body" sz="quarter" idx="15" hasCustomPrompt="1"/>
          </p:nvPr>
        </p:nvSpPr>
        <p:spPr>
          <a:xfrm>
            <a:off x="7676829" y="1991198"/>
            <a:ext cx="3960000" cy="4317528"/>
          </a:xfrm>
          <a:prstGeom prst="rect">
            <a:avLst/>
          </a:prstGeom>
        </p:spPr>
        <p:txBody>
          <a:bodyPr lIns="0" anchor="t">
            <a:noAutofit/>
          </a:bodyPr>
          <a:lstStyle>
            <a:lvl1pPr marL="342900" indent="-342900">
              <a:lnSpc>
                <a:spcPct val="175000"/>
              </a:lnSpc>
              <a:spcBef>
                <a:spcPts val="0"/>
              </a:spcBef>
              <a:buFont typeface="+mj-lt"/>
              <a:buAutoNum type="arabicPeriod" startAt="9"/>
              <a:defRPr sz="1800" b="1" i="0" baseline="0">
                <a:solidFill>
                  <a:schemeClr val="bg1"/>
                </a:solidFill>
              </a:defRPr>
            </a:lvl1pPr>
          </a:lstStyle>
          <a:p>
            <a:pPr lvl="0"/>
            <a:r>
              <a:rPr lang="en-GB" noProof="0" dirty="0"/>
              <a:t>Item 9 (18pt)</a:t>
            </a:r>
          </a:p>
        </p:txBody>
      </p:sp>
      <p:sp>
        <p:nvSpPr>
          <p:cNvPr id="8" name="Freeform 5"/>
          <p:cNvSpPr>
            <a:spLocks noEditPoints="1"/>
          </p:cNvSpPr>
          <p:nvPr/>
        </p:nvSpPr>
        <p:spPr bwMode="auto">
          <a:xfrm>
            <a:off x="9721850" y="558800"/>
            <a:ext cx="1908000" cy="379413"/>
          </a:xfrm>
          <a:custGeom>
            <a:avLst/>
            <a:gdLst>
              <a:gd name="T0" fmla="*/ 1075 w 1196"/>
              <a:gd name="T1" fmla="*/ 70 h 239"/>
              <a:gd name="T2" fmla="*/ 1084 w 1196"/>
              <a:gd name="T3" fmla="*/ 90 h 239"/>
              <a:gd name="T4" fmla="*/ 1063 w 1196"/>
              <a:gd name="T5" fmla="*/ 82 h 239"/>
              <a:gd name="T6" fmla="*/ 1034 w 1196"/>
              <a:gd name="T7" fmla="*/ 232 h 239"/>
              <a:gd name="T8" fmla="*/ 1097 w 1196"/>
              <a:gd name="T9" fmla="*/ 237 h 239"/>
              <a:gd name="T10" fmla="*/ 1137 w 1196"/>
              <a:gd name="T11" fmla="*/ 195 h 239"/>
              <a:gd name="T12" fmla="*/ 1106 w 1196"/>
              <a:gd name="T13" fmla="*/ 134 h 239"/>
              <a:gd name="T14" fmla="*/ 1101 w 1196"/>
              <a:gd name="T15" fmla="*/ 90 h 239"/>
              <a:gd name="T16" fmla="*/ 1095 w 1196"/>
              <a:gd name="T17" fmla="*/ 63 h 239"/>
              <a:gd name="T18" fmla="*/ 1064 w 1196"/>
              <a:gd name="T19" fmla="*/ 58 h 239"/>
              <a:gd name="T20" fmla="*/ 1047 w 1196"/>
              <a:gd name="T21" fmla="*/ 82 h 239"/>
              <a:gd name="T22" fmla="*/ 1044 w 1196"/>
              <a:gd name="T23" fmla="*/ 118 h 239"/>
              <a:gd name="T24" fmla="*/ 1024 w 1196"/>
              <a:gd name="T25" fmla="*/ 203 h 239"/>
              <a:gd name="T26" fmla="*/ 960 w 1196"/>
              <a:gd name="T27" fmla="*/ 84 h 239"/>
              <a:gd name="T28" fmla="*/ 1008 w 1196"/>
              <a:gd name="T29" fmla="*/ 21 h 239"/>
              <a:gd name="T30" fmla="*/ 1076 w 1196"/>
              <a:gd name="T31" fmla="*/ 0 h 239"/>
              <a:gd name="T32" fmla="*/ 1152 w 1196"/>
              <a:gd name="T33" fmla="*/ 27 h 239"/>
              <a:gd name="T34" fmla="*/ 1194 w 1196"/>
              <a:gd name="T35" fmla="*/ 94 h 239"/>
              <a:gd name="T36" fmla="*/ 1188 w 1196"/>
              <a:gd name="T37" fmla="*/ 160 h 239"/>
              <a:gd name="T38" fmla="*/ 1156 w 1196"/>
              <a:gd name="T39" fmla="*/ 174 h 239"/>
              <a:gd name="T40" fmla="*/ 1174 w 1196"/>
              <a:gd name="T41" fmla="*/ 118 h 239"/>
              <a:gd name="T42" fmla="*/ 1157 w 1196"/>
              <a:gd name="T43" fmla="*/ 64 h 239"/>
              <a:gd name="T44" fmla="*/ 1104 w 1196"/>
              <a:gd name="T45" fmla="*/ 25 h 239"/>
              <a:gd name="T46" fmla="*/ 1046 w 1196"/>
              <a:gd name="T47" fmla="*/ 25 h 239"/>
              <a:gd name="T48" fmla="*/ 995 w 1196"/>
              <a:gd name="T49" fmla="*/ 64 h 239"/>
              <a:gd name="T50" fmla="*/ 978 w 1196"/>
              <a:gd name="T51" fmla="*/ 118 h 239"/>
              <a:gd name="T52" fmla="*/ 995 w 1196"/>
              <a:gd name="T53" fmla="*/ 174 h 239"/>
              <a:gd name="T54" fmla="*/ 963 w 1196"/>
              <a:gd name="T55" fmla="*/ 160 h 239"/>
              <a:gd name="T56" fmla="*/ 851 w 1196"/>
              <a:gd name="T57" fmla="*/ 82 h 239"/>
              <a:gd name="T58" fmla="*/ 836 w 1196"/>
              <a:gd name="T59" fmla="*/ 156 h 239"/>
              <a:gd name="T60" fmla="*/ 800 w 1196"/>
              <a:gd name="T61" fmla="*/ 99 h 239"/>
              <a:gd name="T62" fmla="*/ 697 w 1196"/>
              <a:gd name="T63" fmla="*/ 111 h 239"/>
              <a:gd name="T64" fmla="*/ 733 w 1196"/>
              <a:gd name="T65" fmla="*/ 80 h 239"/>
              <a:gd name="T66" fmla="*/ 761 w 1196"/>
              <a:gd name="T67" fmla="*/ 94 h 239"/>
              <a:gd name="T68" fmla="*/ 737 w 1196"/>
              <a:gd name="T69" fmla="*/ 96 h 239"/>
              <a:gd name="T70" fmla="*/ 719 w 1196"/>
              <a:gd name="T71" fmla="*/ 106 h 239"/>
              <a:gd name="T72" fmla="*/ 724 w 1196"/>
              <a:gd name="T73" fmla="*/ 138 h 239"/>
              <a:gd name="T74" fmla="*/ 747 w 1196"/>
              <a:gd name="T75" fmla="*/ 129 h 239"/>
              <a:gd name="T76" fmla="*/ 751 w 1196"/>
              <a:gd name="T77" fmla="*/ 156 h 239"/>
              <a:gd name="T78" fmla="*/ 707 w 1196"/>
              <a:gd name="T79" fmla="*/ 149 h 239"/>
              <a:gd name="T80" fmla="*/ 654 w 1196"/>
              <a:gd name="T81" fmla="*/ 102 h 239"/>
              <a:gd name="T82" fmla="*/ 673 w 1196"/>
              <a:gd name="T83" fmla="*/ 156 h 239"/>
              <a:gd name="T84" fmla="*/ 559 w 1196"/>
              <a:gd name="T85" fmla="*/ 112 h 239"/>
              <a:gd name="T86" fmla="*/ 541 w 1196"/>
              <a:gd name="T87" fmla="*/ 82 h 239"/>
              <a:gd name="T88" fmla="*/ 498 w 1196"/>
              <a:gd name="T89" fmla="*/ 117 h 239"/>
              <a:gd name="T90" fmla="*/ 457 w 1196"/>
              <a:gd name="T91" fmla="*/ 127 h 239"/>
              <a:gd name="T92" fmla="*/ 442 w 1196"/>
              <a:gd name="T93" fmla="*/ 111 h 239"/>
              <a:gd name="T94" fmla="*/ 309 w 1196"/>
              <a:gd name="T95" fmla="*/ 156 h 239"/>
              <a:gd name="T96" fmla="*/ 356 w 1196"/>
              <a:gd name="T97" fmla="*/ 126 h 239"/>
              <a:gd name="T98" fmla="*/ 272 w 1196"/>
              <a:gd name="T99" fmla="*/ 128 h 239"/>
              <a:gd name="T100" fmla="*/ 246 w 1196"/>
              <a:gd name="T101" fmla="*/ 82 h 239"/>
              <a:gd name="T102" fmla="*/ 174 w 1196"/>
              <a:gd name="T103" fmla="*/ 127 h 239"/>
              <a:gd name="T104" fmla="*/ 155 w 1196"/>
              <a:gd name="T105" fmla="*/ 82 h 239"/>
              <a:gd name="T106" fmla="*/ 83 w 1196"/>
              <a:gd name="T107" fmla="*/ 151 h 239"/>
              <a:gd name="T108" fmla="*/ 118 w 1196"/>
              <a:gd name="T109" fmla="*/ 157 h 239"/>
              <a:gd name="T110" fmla="*/ 138 w 1196"/>
              <a:gd name="T111" fmla="*/ 82 h 239"/>
              <a:gd name="T112" fmla="*/ 107 w 1196"/>
              <a:gd name="T113" fmla="*/ 142 h 239"/>
              <a:gd name="T114" fmla="*/ 74 w 1196"/>
              <a:gd name="T115" fmla="*/ 82 h 239"/>
              <a:gd name="T116" fmla="*/ 66 w 1196"/>
              <a:gd name="T117" fmla="*/ 156 h 239"/>
              <a:gd name="T118" fmla="*/ 0 w 1196"/>
              <a:gd name="T119" fmla="*/ 15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96" h="239">
                <a:moveTo>
                  <a:pt x="1063" y="82"/>
                </a:moveTo>
                <a:lnTo>
                  <a:pt x="1063" y="82"/>
                </a:lnTo>
                <a:lnTo>
                  <a:pt x="1064" y="78"/>
                </a:lnTo>
                <a:lnTo>
                  <a:pt x="1066" y="73"/>
                </a:lnTo>
                <a:lnTo>
                  <a:pt x="1070" y="71"/>
                </a:lnTo>
                <a:lnTo>
                  <a:pt x="1075" y="70"/>
                </a:lnTo>
                <a:lnTo>
                  <a:pt x="1075" y="70"/>
                </a:lnTo>
                <a:lnTo>
                  <a:pt x="1080" y="71"/>
                </a:lnTo>
                <a:lnTo>
                  <a:pt x="1084" y="73"/>
                </a:lnTo>
                <a:lnTo>
                  <a:pt x="1086" y="78"/>
                </a:lnTo>
                <a:lnTo>
                  <a:pt x="1087" y="82"/>
                </a:lnTo>
                <a:lnTo>
                  <a:pt x="1087" y="82"/>
                </a:lnTo>
                <a:lnTo>
                  <a:pt x="1086" y="87"/>
                </a:lnTo>
                <a:lnTo>
                  <a:pt x="1084" y="90"/>
                </a:lnTo>
                <a:lnTo>
                  <a:pt x="1080" y="93"/>
                </a:lnTo>
                <a:lnTo>
                  <a:pt x="1075" y="94"/>
                </a:lnTo>
                <a:lnTo>
                  <a:pt x="1075" y="94"/>
                </a:lnTo>
                <a:lnTo>
                  <a:pt x="1070" y="93"/>
                </a:lnTo>
                <a:lnTo>
                  <a:pt x="1066" y="90"/>
                </a:lnTo>
                <a:lnTo>
                  <a:pt x="1064" y="87"/>
                </a:lnTo>
                <a:lnTo>
                  <a:pt x="1063" y="82"/>
                </a:lnTo>
                <a:lnTo>
                  <a:pt x="1063" y="82"/>
                </a:lnTo>
                <a:close/>
                <a:moveTo>
                  <a:pt x="998" y="211"/>
                </a:moveTo>
                <a:lnTo>
                  <a:pt x="998" y="211"/>
                </a:lnTo>
                <a:lnTo>
                  <a:pt x="1006" y="217"/>
                </a:lnTo>
                <a:lnTo>
                  <a:pt x="1015" y="222"/>
                </a:lnTo>
                <a:lnTo>
                  <a:pt x="1024" y="227"/>
                </a:lnTo>
                <a:lnTo>
                  <a:pt x="1034" y="232"/>
                </a:lnTo>
                <a:lnTo>
                  <a:pt x="1044" y="235"/>
                </a:lnTo>
                <a:lnTo>
                  <a:pt x="1054" y="237"/>
                </a:lnTo>
                <a:lnTo>
                  <a:pt x="1064" y="238"/>
                </a:lnTo>
                <a:lnTo>
                  <a:pt x="1076" y="239"/>
                </a:lnTo>
                <a:lnTo>
                  <a:pt x="1076" y="239"/>
                </a:lnTo>
                <a:lnTo>
                  <a:pt x="1086" y="238"/>
                </a:lnTo>
                <a:lnTo>
                  <a:pt x="1097" y="237"/>
                </a:lnTo>
                <a:lnTo>
                  <a:pt x="1106" y="235"/>
                </a:lnTo>
                <a:lnTo>
                  <a:pt x="1117" y="232"/>
                </a:lnTo>
                <a:lnTo>
                  <a:pt x="1126" y="227"/>
                </a:lnTo>
                <a:lnTo>
                  <a:pt x="1136" y="222"/>
                </a:lnTo>
                <a:lnTo>
                  <a:pt x="1144" y="217"/>
                </a:lnTo>
                <a:lnTo>
                  <a:pt x="1153" y="211"/>
                </a:lnTo>
                <a:lnTo>
                  <a:pt x="1137" y="195"/>
                </a:lnTo>
                <a:lnTo>
                  <a:pt x="1137" y="195"/>
                </a:lnTo>
                <a:lnTo>
                  <a:pt x="1126" y="203"/>
                </a:lnTo>
                <a:lnTo>
                  <a:pt x="1114" y="211"/>
                </a:lnTo>
                <a:lnTo>
                  <a:pt x="1100" y="216"/>
                </a:lnTo>
                <a:lnTo>
                  <a:pt x="1086" y="218"/>
                </a:lnTo>
                <a:lnTo>
                  <a:pt x="1086" y="134"/>
                </a:lnTo>
                <a:lnTo>
                  <a:pt x="1106" y="134"/>
                </a:lnTo>
                <a:lnTo>
                  <a:pt x="1106" y="118"/>
                </a:lnTo>
                <a:lnTo>
                  <a:pt x="1086" y="118"/>
                </a:lnTo>
                <a:lnTo>
                  <a:pt x="1086" y="106"/>
                </a:lnTo>
                <a:lnTo>
                  <a:pt x="1086" y="106"/>
                </a:lnTo>
                <a:lnTo>
                  <a:pt x="1093" y="103"/>
                </a:lnTo>
                <a:lnTo>
                  <a:pt x="1098" y="97"/>
                </a:lnTo>
                <a:lnTo>
                  <a:pt x="1101" y="90"/>
                </a:lnTo>
                <a:lnTo>
                  <a:pt x="1102" y="86"/>
                </a:lnTo>
                <a:lnTo>
                  <a:pt x="1103" y="82"/>
                </a:lnTo>
                <a:lnTo>
                  <a:pt x="1103" y="82"/>
                </a:lnTo>
                <a:lnTo>
                  <a:pt x="1102" y="77"/>
                </a:lnTo>
                <a:lnTo>
                  <a:pt x="1101" y="71"/>
                </a:lnTo>
                <a:lnTo>
                  <a:pt x="1098" y="67"/>
                </a:lnTo>
                <a:lnTo>
                  <a:pt x="1095" y="63"/>
                </a:lnTo>
                <a:lnTo>
                  <a:pt x="1091" y="60"/>
                </a:lnTo>
                <a:lnTo>
                  <a:pt x="1086" y="58"/>
                </a:lnTo>
                <a:lnTo>
                  <a:pt x="1081" y="56"/>
                </a:lnTo>
                <a:lnTo>
                  <a:pt x="1076" y="56"/>
                </a:lnTo>
                <a:lnTo>
                  <a:pt x="1076" y="56"/>
                </a:lnTo>
                <a:lnTo>
                  <a:pt x="1069" y="56"/>
                </a:lnTo>
                <a:lnTo>
                  <a:pt x="1064" y="58"/>
                </a:lnTo>
                <a:lnTo>
                  <a:pt x="1060" y="60"/>
                </a:lnTo>
                <a:lnTo>
                  <a:pt x="1056" y="63"/>
                </a:lnTo>
                <a:lnTo>
                  <a:pt x="1053" y="67"/>
                </a:lnTo>
                <a:lnTo>
                  <a:pt x="1049" y="71"/>
                </a:lnTo>
                <a:lnTo>
                  <a:pt x="1048" y="77"/>
                </a:lnTo>
                <a:lnTo>
                  <a:pt x="1047" y="82"/>
                </a:lnTo>
                <a:lnTo>
                  <a:pt x="1047" y="82"/>
                </a:lnTo>
                <a:lnTo>
                  <a:pt x="1048" y="86"/>
                </a:lnTo>
                <a:lnTo>
                  <a:pt x="1049" y="90"/>
                </a:lnTo>
                <a:lnTo>
                  <a:pt x="1053" y="97"/>
                </a:lnTo>
                <a:lnTo>
                  <a:pt x="1058" y="103"/>
                </a:lnTo>
                <a:lnTo>
                  <a:pt x="1064" y="106"/>
                </a:lnTo>
                <a:lnTo>
                  <a:pt x="1064" y="118"/>
                </a:lnTo>
                <a:lnTo>
                  <a:pt x="1044" y="118"/>
                </a:lnTo>
                <a:lnTo>
                  <a:pt x="1044" y="134"/>
                </a:lnTo>
                <a:lnTo>
                  <a:pt x="1064" y="134"/>
                </a:lnTo>
                <a:lnTo>
                  <a:pt x="1064" y="218"/>
                </a:lnTo>
                <a:lnTo>
                  <a:pt x="1064" y="218"/>
                </a:lnTo>
                <a:lnTo>
                  <a:pt x="1050" y="216"/>
                </a:lnTo>
                <a:lnTo>
                  <a:pt x="1037" y="211"/>
                </a:lnTo>
                <a:lnTo>
                  <a:pt x="1024" y="203"/>
                </a:lnTo>
                <a:lnTo>
                  <a:pt x="1014" y="195"/>
                </a:lnTo>
                <a:lnTo>
                  <a:pt x="998" y="211"/>
                </a:lnTo>
                <a:close/>
                <a:moveTo>
                  <a:pt x="954" y="118"/>
                </a:moveTo>
                <a:lnTo>
                  <a:pt x="954" y="118"/>
                </a:lnTo>
                <a:lnTo>
                  <a:pt x="956" y="107"/>
                </a:lnTo>
                <a:lnTo>
                  <a:pt x="958" y="94"/>
                </a:lnTo>
                <a:lnTo>
                  <a:pt x="960" y="84"/>
                </a:lnTo>
                <a:lnTo>
                  <a:pt x="964" y="72"/>
                </a:lnTo>
                <a:lnTo>
                  <a:pt x="969" y="62"/>
                </a:lnTo>
                <a:lnTo>
                  <a:pt x="976" y="52"/>
                </a:lnTo>
                <a:lnTo>
                  <a:pt x="982" y="43"/>
                </a:lnTo>
                <a:lnTo>
                  <a:pt x="990" y="35"/>
                </a:lnTo>
                <a:lnTo>
                  <a:pt x="999" y="27"/>
                </a:lnTo>
                <a:lnTo>
                  <a:pt x="1008" y="21"/>
                </a:lnTo>
                <a:lnTo>
                  <a:pt x="1018" y="15"/>
                </a:lnTo>
                <a:lnTo>
                  <a:pt x="1028" y="9"/>
                </a:lnTo>
                <a:lnTo>
                  <a:pt x="1040" y="5"/>
                </a:lnTo>
                <a:lnTo>
                  <a:pt x="1052" y="3"/>
                </a:lnTo>
                <a:lnTo>
                  <a:pt x="1063" y="1"/>
                </a:lnTo>
                <a:lnTo>
                  <a:pt x="1076" y="0"/>
                </a:lnTo>
                <a:lnTo>
                  <a:pt x="1076" y="0"/>
                </a:lnTo>
                <a:lnTo>
                  <a:pt x="1087" y="1"/>
                </a:lnTo>
                <a:lnTo>
                  <a:pt x="1100" y="3"/>
                </a:lnTo>
                <a:lnTo>
                  <a:pt x="1111" y="5"/>
                </a:lnTo>
                <a:lnTo>
                  <a:pt x="1122" y="9"/>
                </a:lnTo>
                <a:lnTo>
                  <a:pt x="1133" y="15"/>
                </a:lnTo>
                <a:lnTo>
                  <a:pt x="1142" y="21"/>
                </a:lnTo>
                <a:lnTo>
                  <a:pt x="1152" y="27"/>
                </a:lnTo>
                <a:lnTo>
                  <a:pt x="1160" y="35"/>
                </a:lnTo>
                <a:lnTo>
                  <a:pt x="1169" y="43"/>
                </a:lnTo>
                <a:lnTo>
                  <a:pt x="1175" y="52"/>
                </a:lnTo>
                <a:lnTo>
                  <a:pt x="1181" y="62"/>
                </a:lnTo>
                <a:lnTo>
                  <a:pt x="1187" y="72"/>
                </a:lnTo>
                <a:lnTo>
                  <a:pt x="1191" y="84"/>
                </a:lnTo>
                <a:lnTo>
                  <a:pt x="1194" y="94"/>
                </a:lnTo>
                <a:lnTo>
                  <a:pt x="1195" y="107"/>
                </a:lnTo>
                <a:lnTo>
                  <a:pt x="1196" y="118"/>
                </a:lnTo>
                <a:lnTo>
                  <a:pt x="1196" y="118"/>
                </a:lnTo>
                <a:lnTo>
                  <a:pt x="1195" y="130"/>
                </a:lnTo>
                <a:lnTo>
                  <a:pt x="1194" y="140"/>
                </a:lnTo>
                <a:lnTo>
                  <a:pt x="1192" y="151"/>
                </a:lnTo>
                <a:lnTo>
                  <a:pt x="1188" y="160"/>
                </a:lnTo>
                <a:lnTo>
                  <a:pt x="1184" y="171"/>
                </a:lnTo>
                <a:lnTo>
                  <a:pt x="1179" y="179"/>
                </a:lnTo>
                <a:lnTo>
                  <a:pt x="1173" y="189"/>
                </a:lnTo>
                <a:lnTo>
                  <a:pt x="1166" y="197"/>
                </a:lnTo>
                <a:lnTo>
                  <a:pt x="1151" y="181"/>
                </a:lnTo>
                <a:lnTo>
                  <a:pt x="1151" y="181"/>
                </a:lnTo>
                <a:lnTo>
                  <a:pt x="1156" y="174"/>
                </a:lnTo>
                <a:lnTo>
                  <a:pt x="1160" y="167"/>
                </a:lnTo>
                <a:lnTo>
                  <a:pt x="1164" y="159"/>
                </a:lnTo>
                <a:lnTo>
                  <a:pt x="1168" y="152"/>
                </a:lnTo>
                <a:lnTo>
                  <a:pt x="1170" y="144"/>
                </a:lnTo>
                <a:lnTo>
                  <a:pt x="1172" y="135"/>
                </a:lnTo>
                <a:lnTo>
                  <a:pt x="1173" y="127"/>
                </a:lnTo>
                <a:lnTo>
                  <a:pt x="1174" y="118"/>
                </a:lnTo>
                <a:lnTo>
                  <a:pt x="1174" y="118"/>
                </a:lnTo>
                <a:lnTo>
                  <a:pt x="1173" y="109"/>
                </a:lnTo>
                <a:lnTo>
                  <a:pt x="1172" y="100"/>
                </a:lnTo>
                <a:lnTo>
                  <a:pt x="1169" y="90"/>
                </a:lnTo>
                <a:lnTo>
                  <a:pt x="1165" y="81"/>
                </a:lnTo>
                <a:lnTo>
                  <a:pt x="1161" y="72"/>
                </a:lnTo>
                <a:lnTo>
                  <a:pt x="1157" y="64"/>
                </a:lnTo>
                <a:lnTo>
                  <a:pt x="1151" y="57"/>
                </a:lnTo>
                <a:lnTo>
                  <a:pt x="1144" y="49"/>
                </a:lnTo>
                <a:lnTo>
                  <a:pt x="1138" y="43"/>
                </a:lnTo>
                <a:lnTo>
                  <a:pt x="1130" y="38"/>
                </a:lnTo>
                <a:lnTo>
                  <a:pt x="1122" y="32"/>
                </a:lnTo>
                <a:lnTo>
                  <a:pt x="1114" y="28"/>
                </a:lnTo>
                <a:lnTo>
                  <a:pt x="1104" y="25"/>
                </a:lnTo>
                <a:lnTo>
                  <a:pt x="1095" y="23"/>
                </a:lnTo>
                <a:lnTo>
                  <a:pt x="1085" y="21"/>
                </a:lnTo>
                <a:lnTo>
                  <a:pt x="1076" y="21"/>
                </a:lnTo>
                <a:lnTo>
                  <a:pt x="1076" y="21"/>
                </a:lnTo>
                <a:lnTo>
                  <a:pt x="1065" y="21"/>
                </a:lnTo>
                <a:lnTo>
                  <a:pt x="1056" y="23"/>
                </a:lnTo>
                <a:lnTo>
                  <a:pt x="1046" y="25"/>
                </a:lnTo>
                <a:lnTo>
                  <a:pt x="1037" y="28"/>
                </a:lnTo>
                <a:lnTo>
                  <a:pt x="1028" y="32"/>
                </a:lnTo>
                <a:lnTo>
                  <a:pt x="1021" y="38"/>
                </a:lnTo>
                <a:lnTo>
                  <a:pt x="1014" y="43"/>
                </a:lnTo>
                <a:lnTo>
                  <a:pt x="1006" y="49"/>
                </a:lnTo>
                <a:lnTo>
                  <a:pt x="1000" y="57"/>
                </a:lnTo>
                <a:lnTo>
                  <a:pt x="995" y="64"/>
                </a:lnTo>
                <a:lnTo>
                  <a:pt x="989" y="72"/>
                </a:lnTo>
                <a:lnTo>
                  <a:pt x="985" y="81"/>
                </a:lnTo>
                <a:lnTo>
                  <a:pt x="982" y="90"/>
                </a:lnTo>
                <a:lnTo>
                  <a:pt x="979" y="100"/>
                </a:lnTo>
                <a:lnTo>
                  <a:pt x="978" y="109"/>
                </a:lnTo>
                <a:lnTo>
                  <a:pt x="978" y="118"/>
                </a:lnTo>
                <a:lnTo>
                  <a:pt x="978" y="118"/>
                </a:lnTo>
                <a:lnTo>
                  <a:pt x="978" y="127"/>
                </a:lnTo>
                <a:lnTo>
                  <a:pt x="979" y="135"/>
                </a:lnTo>
                <a:lnTo>
                  <a:pt x="981" y="144"/>
                </a:lnTo>
                <a:lnTo>
                  <a:pt x="983" y="152"/>
                </a:lnTo>
                <a:lnTo>
                  <a:pt x="986" y="159"/>
                </a:lnTo>
                <a:lnTo>
                  <a:pt x="990" y="167"/>
                </a:lnTo>
                <a:lnTo>
                  <a:pt x="995" y="174"/>
                </a:lnTo>
                <a:lnTo>
                  <a:pt x="1000" y="181"/>
                </a:lnTo>
                <a:lnTo>
                  <a:pt x="984" y="197"/>
                </a:lnTo>
                <a:lnTo>
                  <a:pt x="984" y="197"/>
                </a:lnTo>
                <a:lnTo>
                  <a:pt x="978" y="189"/>
                </a:lnTo>
                <a:lnTo>
                  <a:pt x="971" y="179"/>
                </a:lnTo>
                <a:lnTo>
                  <a:pt x="967" y="171"/>
                </a:lnTo>
                <a:lnTo>
                  <a:pt x="963" y="160"/>
                </a:lnTo>
                <a:lnTo>
                  <a:pt x="959" y="151"/>
                </a:lnTo>
                <a:lnTo>
                  <a:pt x="957" y="140"/>
                </a:lnTo>
                <a:lnTo>
                  <a:pt x="956" y="130"/>
                </a:lnTo>
                <a:lnTo>
                  <a:pt x="954" y="118"/>
                </a:lnTo>
                <a:lnTo>
                  <a:pt x="954" y="118"/>
                </a:lnTo>
                <a:close/>
                <a:moveTo>
                  <a:pt x="851" y="156"/>
                </a:moveTo>
                <a:lnTo>
                  <a:pt x="851" y="82"/>
                </a:lnTo>
                <a:lnTo>
                  <a:pt x="871" y="82"/>
                </a:lnTo>
                <a:lnTo>
                  <a:pt x="871" y="139"/>
                </a:lnTo>
                <a:lnTo>
                  <a:pt x="905" y="139"/>
                </a:lnTo>
                <a:lnTo>
                  <a:pt x="905" y="156"/>
                </a:lnTo>
                <a:lnTo>
                  <a:pt x="851" y="156"/>
                </a:lnTo>
                <a:close/>
                <a:moveTo>
                  <a:pt x="782" y="156"/>
                </a:moveTo>
                <a:lnTo>
                  <a:pt x="836" y="156"/>
                </a:lnTo>
                <a:lnTo>
                  <a:pt x="836" y="139"/>
                </a:lnTo>
                <a:lnTo>
                  <a:pt x="800" y="139"/>
                </a:lnTo>
                <a:lnTo>
                  <a:pt x="800" y="127"/>
                </a:lnTo>
                <a:lnTo>
                  <a:pt x="830" y="127"/>
                </a:lnTo>
                <a:lnTo>
                  <a:pt x="830" y="111"/>
                </a:lnTo>
                <a:lnTo>
                  <a:pt x="800" y="111"/>
                </a:lnTo>
                <a:lnTo>
                  <a:pt x="800" y="99"/>
                </a:lnTo>
                <a:lnTo>
                  <a:pt x="835" y="99"/>
                </a:lnTo>
                <a:lnTo>
                  <a:pt x="835" y="82"/>
                </a:lnTo>
                <a:lnTo>
                  <a:pt x="782" y="82"/>
                </a:lnTo>
                <a:lnTo>
                  <a:pt x="782" y="156"/>
                </a:lnTo>
                <a:close/>
                <a:moveTo>
                  <a:pt x="696" y="120"/>
                </a:moveTo>
                <a:lnTo>
                  <a:pt x="696" y="120"/>
                </a:lnTo>
                <a:lnTo>
                  <a:pt x="697" y="111"/>
                </a:lnTo>
                <a:lnTo>
                  <a:pt x="699" y="104"/>
                </a:lnTo>
                <a:lnTo>
                  <a:pt x="702" y="96"/>
                </a:lnTo>
                <a:lnTo>
                  <a:pt x="707" y="91"/>
                </a:lnTo>
                <a:lnTo>
                  <a:pt x="712" y="86"/>
                </a:lnTo>
                <a:lnTo>
                  <a:pt x="718" y="83"/>
                </a:lnTo>
                <a:lnTo>
                  <a:pt x="725" y="81"/>
                </a:lnTo>
                <a:lnTo>
                  <a:pt x="733" y="80"/>
                </a:lnTo>
                <a:lnTo>
                  <a:pt x="733" y="80"/>
                </a:lnTo>
                <a:lnTo>
                  <a:pt x="739" y="81"/>
                </a:lnTo>
                <a:lnTo>
                  <a:pt x="745" y="82"/>
                </a:lnTo>
                <a:lnTo>
                  <a:pt x="750" y="84"/>
                </a:lnTo>
                <a:lnTo>
                  <a:pt x="754" y="86"/>
                </a:lnTo>
                <a:lnTo>
                  <a:pt x="758" y="90"/>
                </a:lnTo>
                <a:lnTo>
                  <a:pt x="761" y="94"/>
                </a:lnTo>
                <a:lnTo>
                  <a:pt x="765" y="100"/>
                </a:lnTo>
                <a:lnTo>
                  <a:pt x="766" y="106"/>
                </a:lnTo>
                <a:lnTo>
                  <a:pt x="746" y="106"/>
                </a:lnTo>
                <a:lnTo>
                  <a:pt x="746" y="106"/>
                </a:lnTo>
                <a:lnTo>
                  <a:pt x="744" y="101"/>
                </a:lnTo>
                <a:lnTo>
                  <a:pt x="741" y="99"/>
                </a:lnTo>
                <a:lnTo>
                  <a:pt x="737" y="96"/>
                </a:lnTo>
                <a:lnTo>
                  <a:pt x="733" y="96"/>
                </a:lnTo>
                <a:lnTo>
                  <a:pt x="733" y="96"/>
                </a:lnTo>
                <a:lnTo>
                  <a:pt x="730" y="96"/>
                </a:lnTo>
                <a:lnTo>
                  <a:pt x="726" y="99"/>
                </a:lnTo>
                <a:lnTo>
                  <a:pt x="724" y="101"/>
                </a:lnTo>
                <a:lnTo>
                  <a:pt x="720" y="103"/>
                </a:lnTo>
                <a:lnTo>
                  <a:pt x="719" y="106"/>
                </a:lnTo>
                <a:lnTo>
                  <a:pt x="717" y="110"/>
                </a:lnTo>
                <a:lnTo>
                  <a:pt x="716" y="120"/>
                </a:lnTo>
                <a:lnTo>
                  <a:pt x="716" y="120"/>
                </a:lnTo>
                <a:lnTo>
                  <a:pt x="717" y="129"/>
                </a:lnTo>
                <a:lnTo>
                  <a:pt x="719" y="132"/>
                </a:lnTo>
                <a:lnTo>
                  <a:pt x="721" y="136"/>
                </a:lnTo>
                <a:lnTo>
                  <a:pt x="724" y="138"/>
                </a:lnTo>
                <a:lnTo>
                  <a:pt x="727" y="140"/>
                </a:lnTo>
                <a:lnTo>
                  <a:pt x="730" y="143"/>
                </a:lnTo>
                <a:lnTo>
                  <a:pt x="734" y="143"/>
                </a:lnTo>
                <a:lnTo>
                  <a:pt x="734" y="143"/>
                </a:lnTo>
                <a:lnTo>
                  <a:pt x="741" y="142"/>
                </a:lnTo>
                <a:lnTo>
                  <a:pt x="747" y="139"/>
                </a:lnTo>
                <a:lnTo>
                  <a:pt x="747" y="129"/>
                </a:lnTo>
                <a:lnTo>
                  <a:pt x="734" y="129"/>
                </a:lnTo>
                <a:lnTo>
                  <a:pt x="734" y="115"/>
                </a:lnTo>
                <a:lnTo>
                  <a:pt x="766" y="115"/>
                </a:lnTo>
                <a:lnTo>
                  <a:pt x="766" y="148"/>
                </a:lnTo>
                <a:lnTo>
                  <a:pt x="766" y="148"/>
                </a:lnTo>
                <a:lnTo>
                  <a:pt x="758" y="153"/>
                </a:lnTo>
                <a:lnTo>
                  <a:pt x="751" y="156"/>
                </a:lnTo>
                <a:lnTo>
                  <a:pt x="742" y="158"/>
                </a:lnTo>
                <a:lnTo>
                  <a:pt x="736" y="159"/>
                </a:lnTo>
                <a:lnTo>
                  <a:pt x="736" y="159"/>
                </a:lnTo>
                <a:lnTo>
                  <a:pt x="727" y="158"/>
                </a:lnTo>
                <a:lnTo>
                  <a:pt x="719" y="156"/>
                </a:lnTo>
                <a:lnTo>
                  <a:pt x="712" y="153"/>
                </a:lnTo>
                <a:lnTo>
                  <a:pt x="707" y="149"/>
                </a:lnTo>
                <a:lnTo>
                  <a:pt x="702" y="143"/>
                </a:lnTo>
                <a:lnTo>
                  <a:pt x="699" y="136"/>
                </a:lnTo>
                <a:lnTo>
                  <a:pt x="697" y="128"/>
                </a:lnTo>
                <a:lnTo>
                  <a:pt x="696" y="120"/>
                </a:lnTo>
                <a:lnTo>
                  <a:pt x="696" y="120"/>
                </a:lnTo>
                <a:close/>
                <a:moveTo>
                  <a:pt x="644" y="130"/>
                </a:moveTo>
                <a:lnTo>
                  <a:pt x="654" y="102"/>
                </a:lnTo>
                <a:lnTo>
                  <a:pt x="663" y="130"/>
                </a:lnTo>
                <a:lnTo>
                  <a:pt x="644" y="130"/>
                </a:lnTo>
                <a:close/>
                <a:moveTo>
                  <a:pt x="615" y="156"/>
                </a:moveTo>
                <a:lnTo>
                  <a:pt x="636" y="156"/>
                </a:lnTo>
                <a:lnTo>
                  <a:pt x="639" y="145"/>
                </a:lnTo>
                <a:lnTo>
                  <a:pt x="669" y="145"/>
                </a:lnTo>
                <a:lnTo>
                  <a:pt x="673" y="156"/>
                </a:lnTo>
                <a:lnTo>
                  <a:pt x="693" y="156"/>
                </a:lnTo>
                <a:lnTo>
                  <a:pt x="664" y="82"/>
                </a:lnTo>
                <a:lnTo>
                  <a:pt x="643" y="82"/>
                </a:lnTo>
                <a:lnTo>
                  <a:pt x="615" y="156"/>
                </a:lnTo>
                <a:close/>
                <a:moveTo>
                  <a:pt x="541" y="156"/>
                </a:moveTo>
                <a:lnTo>
                  <a:pt x="559" y="156"/>
                </a:lnTo>
                <a:lnTo>
                  <a:pt x="559" y="112"/>
                </a:lnTo>
                <a:lnTo>
                  <a:pt x="585" y="156"/>
                </a:lnTo>
                <a:lnTo>
                  <a:pt x="606" y="156"/>
                </a:lnTo>
                <a:lnTo>
                  <a:pt x="606" y="82"/>
                </a:lnTo>
                <a:lnTo>
                  <a:pt x="587" y="82"/>
                </a:lnTo>
                <a:lnTo>
                  <a:pt x="587" y="126"/>
                </a:lnTo>
                <a:lnTo>
                  <a:pt x="561" y="82"/>
                </a:lnTo>
                <a:lnTo>
                  <a:pt x="541" y="82"/>
                </a:lnTo>
                <a:lnTo>
                  <a:pt x="541" y="156"/>
                </a:lnTo>
                <a:close/>
                <a:moveTo>
                  <a:pt x="457" y="127"/>
                </a:moveTo>
                <a:lnTo>
                  <a:pt x="457" y="117"/>
                </a:lnTo>
                <a:lnTo>
                  <a:pt x="486" y="117"/>
                </a:lnTo>
                <a:lnTo>
                  <a:pt x="486" y="87"/>
                </a:lnTo>
                <a:lnTo>
                  <a:pt x="498" y="87"/>
                </a:lnTo>
                <a:lnTo>
                  <a:pt x="498" y="117"/>
                </a:lnTo>
                <a:lnTo>
                  <a:pt x="527" y="117"/>
                </a:lnTo>
                <a:lnTo>
                  <a:pt x="527" y="127"/>
                </a:lnTo>
                <a:lnTo>
                  <a:pt x="498" y="127"/>
                </a:lnTo>
                <a:lnTo>
                  <a:pt x="498" y="156"/>
                </a:lnTo>
                <a:lnTo>
                  <a:pt x="486" y="156"/>
                </a:lnTo>
                <a:lnTo>
                  <a:pt x="486" y="127"/>
                </a:lnTo>
                <a:lnTo>
                  <a:pt x="457" y="127"/>
                </a:lnTo>
                <a:close/>
                <a:moveTo>
                  <a:pt x="392" y="156"/>
                </a:moveTo>
                <a:lnTo>
                  <a:pt x="448" y="156"/>
                </a:lnTo>
                <a:lnTo>
                  <a:pt x="448" y="139"/>
                </a:lnTo>
                <a:lnTo>
                  <a:pt x="411" y="139"/>
                </a:lnTo>
                <a:lnTo>
                  <a:pt x="411" y="127"/>
                </a:lnTo>
                <a:lnTo>
                  <a:pt x="442" y="127"/>
                </a:lnTo>
                <a:lnTo>
                  <a:pt x="442" y="111"/>
                </a:lnTo>
                <a:lnTo>
                  <a:pt x="411" y="111"/>
                </a:lnTo>
                <a:lnTo>
                  <a:pt x="411" y="99"/>
                </a:lnTo>
                <a:lnTo>
                  <a:pt x="446" y="99"/>
                </a:lnTo>
                <a:lnTo>
                  <a:pt x="446" y="82"/>
                </a:lnTo>
                <a:lnTo>
                  <a:pt x="392" y="82"/>
                </a:lnTo>
                <a:lnTo>
                  <a:pt x="392" y="156"/>
                </a:lnTo>
                <a:close/>
                <a:moveTo>
                  <a:pt x="309" y="156"/>
                </a:moveTo>
                <a:lnTo>
                  <a:pt x="328" y="156"/>
                </a:lnTo>
                <a:lnTo>
                  <a:pt x="328" y="112"/>
                </a:lnTo>
                <a:lnTo>
                  <a:pt x="354" y="156"/>
                </a:lnTo>
                <a:lnTo>
                  <a:pt x="374" y="156"/>
                </a:lnTo>
                <a:lnTo>
                  <a:pt x="374" y="82"/>
                </a:lnTo>
                <a:lnTo>
                  <a:pt x="356" y="82"/>
                </a:lnTo>
                <a:lnTo>
                  <a:pt x="356" y="126"/>
                </a:lnTo>
                <a:lnTo>
                  <a:pt x="329" y="82"/>
                </a:lnTo>
                <a:lnTo>
                  <a:pt x="309" y="82"/>
                </a:lnTo>
                <a:lnTo>
                  <a:pt x="309" y="156"/>
                </a:lnTo>
                <a:close/>
                <a:moveTo>
                  <a:pt x="226" y="156"/>
                </a:moveTo>
                <a:lnTo>
                  <a:pt x="246" y="156"/>
                </a:lnTo>
                <a:lnTo>
                  <a:pt x="246" y="128"/>
                </a:lnTo>
                <a:lnTo>
                  <a:pt x="272" y="128"/>
                </a:lnTo>
                <a:lnTo>
                  <a:pt x="272" y="156"/>
                </a:lnTo>
                <a:lnTo>
                  <a:pt x="292" y="156"/>
                </a:lnTo>
                <a:lnTo>
                  <a:pt x="292" y="82"/>
                </a:lnTo>
                <a:lnTo>
                  <a:pt x="272" y="82"/>
                </a:lnTo>
                <a:lnTo>
                  <a:pt x="272" y="110"/>
                </a:lnTo>
                <a:lnTo>
                  <a:pt x="246" y="110"/>
                </a:lnTo>
                <a:lnTo>
                  <a:pt x="246" y="82"/>
                </a:lnTo>
                <a:lnTo>
                  <a:pt x="226" y="82"/>
                </a:lnTo>
                <a:lnTo>
                  <a:pt x="226" y="156"/>
                </a:lnTo>
                <a:close/>
                <a:moveTo>
                  <a:pt x="155" y="156"/>
                </a:moveTo>
                <a:lnTo>
                  <a:pt x="211" y="156"/>
                </a:lnTo>
                <a:lnTo>
                  <a:pt x="211" y="139"/>
                </a:lnTo>
                <a:lnTo>
                  <a:pt x="174" y="139"/>
                </a:lnTo>
                <a:lnTo>
                  <a:pt x="174" y="127"/>
                </a:lnTo>
                <a:lnTo>
                  <a:pt x="205" y="127"/>
                </a:lnTo>
                <a:lnTo>
                  <a:pt x="205" y="111"/>
                </a:lnTo>
                <a:lnTo>
                  <a:pt x="174" y="111"/>
                </a:lnTo>
                <a:lnTo>
                  <a:pt x="174" y="99"/>
                </a:lnTo>
                <a:lnTo>
                  <a:pt x="209" y="99"/>
                </a:lnTo>
                <a:lnTo>
                  <a:pt x="209" y="82"/>
                </a:lnTo>
                <a:lnTo>
                  <a:pt x="155" y="82"/>
                </a:lnTo>
                <a:lnTo>
                  <a:pt x="155" y="156"/>
                </a:lnTo>
                <a:close/>
                <a:moveTo>
                  <a:pt x="74" y="126"/>
                </a:moveTo>
                <a:lnTo>
                  <a:pt x="74" y="126"/>
                </a:lnTo>
                <a:lnTo>
                  <a:pt x="74" y="134"/>
                </a:lnTo>
                <a:lnTo>
                  <a:pt x="76" y="142"/>
                </a:lnTo>
                <a:lnTo>
                  <a:pt x="79" y="147"/>
                </a:lnTo>
                <a:lnTo>
                  <a:pt x="83" y="151"/>
                </a:lnTo>
                <a:lnTo>
                  <a:pt x="89" y="155"/>
                </a:lnTo>
                <a:lnTo>
                  <a:pt x="94" y="157"/>
                </a:lnTo>
                <a:lnTo>
                  <a:pt x="99" y="158"/>
                </a:lnTo>
                <a:lnTo>
                  <a:pt x="107" y="159"/>
                </a:lnTo>
                <a:lnTo>
                  <a:pt x="107" y="159"/>
                </a:lnTo>
                <a:lnTo>
                  <a:pt x="113" y="158"/>
                </a:lnTo>
                <a:lnTo>
                  <a:pt x="118" y="157"/>
                </a:lnTo>
                <a:lnTo>
                  <a:pt x="124" y="155"/>
                </a:lnTo>
                <a:lnTo>
                  <a:pt x="129" y="151"/>
                </a:lnTo>
                <a:lnTo>
                  <a:pt x="133" y="147"/>
                </a:lnTo>
                <a:lnTo>
                  <a:pt x="136" y="142"/>
                </a:lnTo>
                <a:lnTo>
                  <a:pt x="138" y="134"/>
                </a:lnTo>
                <a:lnTo>
                  <a:pt x="138" y="126"/>
                </a:lnTo>
                <a:lnTo>
                  <a:pt x="138" y="82"/>
                </a:lnTo>
                <a:lnTo>
                  <a:pt x="118" y="82"/>
                </a:lnTo>
                <a:lnTo>
                  <a:pt x="118" y="129"/>
                </a:lnTo>
                <a:lnTo>
                  <a:pt x="118" y="129"/>
                </a:lnTo>
                <a:lnTo>
                  <a:pt x="117" y="134"/>
                </a:lnTo>
                <a:lnTo>
                  <a:pt x="115" y="138"/>
                </a:lnTo>
                <a:lnTo>
                  <a:pt x="112" y="142"/>
                </a:lnTo>
                <a:lnTo>
                  <a:pt x="107" y="142"/>
                </a:lnTo>
                <a:lnTo>
                  <a:pt x="107" y="142"/>
                </a:lnTo>
                <a:lnTo>
                  <a:pt x="100" y="142"/>
                </a:lnTo>
                <a:lnTo>
                  <a:pt x="97" y="138"/>
                </a:lnTo>
                <a:lnTo>
                  <a:pt x="94" y="134"/>
                </a:lnTo>
                <a:lnTo>
                  <a:pt x="94" y="129"/>
                </a:lnTo>
                <a:lnTo>
                  <a:pt x="94" y="82"/>
                </a:lnTo>
                <a:lnTo>
                  <a:pt x="74" y="82"/>
                </a:lnTo>
                <a:lnTo>
                  <a:pt x="74" y="126"/>
                </a:lnTo>
                <a:close/>
                <a:moveTo>
                  <a:pt x="0" y="156"/>
                </a:moveTo>
                <a:lnTo>
                  <a:pt x="20" y="156"/>
                </a:lnTo>
                <a:lnTo>
                  <a:pt x="20" y="135"/>
                </a:lnTo>
                <a:lnTo>
                  <a:pt x="26" y="127"/>
                </a:lnTo>
                <a:lnTo>
                  <a:pt x="43" y="156"/>
                </a:lnTo>
                <a:lnTo>
                  <a:pt x="66" y="156"/>
                </a:lnTo>
                <a:lnTo>
                  <a:pt x="40" y="112"/>
                </a:lnTo>
                <a:lnTo>
                  <a:pt x="63" y="82"/>
                </a:lnTo>
                <a:lnTo>
                  <a:pt x="40" y="82"/>
                </a:lnTo>
                <a:lnTo>
                  <a:pt x="20" y="109"/>
                </a:lnTo>
                <a:lnTo>
                  <a:pt x="20" y="82"/>
                </a:lnTo>
                <a:lnTo>
                  <a:pt x="0" y="82"/>
                </a:lnTo>
                <a:lnTo>
                  <a:pt x="0" y="1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Titel 4">
            <a:extLst>
              <a:ext uri="{FF2B5EF4-FFF2-40B4-BE49-F238E27FC236}">
                <a16:creationId xmlns:a16="http://schemas.microsoft.com/office/drawing/2014/main" id="{B16D78E0-47FD-4EC8-BA27-F201F5C03B5E}"/>
              </a:ext>
            </a:extLst>
          </p:cNvPr>
          <p:cNvSpPr>
            <a:spLocks noGrp="1"/>
          </p:cNvSpPr>
          <p:nvPr>
            <p:ph type="title" hasCustomPrompt="1"/>
          </p:nvPr>
        </p:nvSpPr>
        <p:spPr>
          <a:xfrm>
            <a:off x="555365" y="1991200"/>
            <a:ext cx="2113945" cy="537146"/>
          </a:xfrm>
        </p:spPr>
        <p:txBody>
          <a:bodyPr>
            <a:noAutofit/>
          </a:bodyPr>
          <a:lstStyle>
            <a:lvl1pPr>
              <a:defRPr lang="de-DE" sz="3600" b="1" i="0" kern="1200" baseline="0" dirty="0">
                <a:solidFill>
                  <a:schemeClr val="bg1"/>
                </a:solidFill>
                <a:latin typeface="+mn-lt"/>
                <a:ea typeface="+mn-ea"/>
                <a:cs typeface="+mn-cs"/>
              </a:defRPr>
            </a:lvl1pPr>
          </a:lstStyle>
          <a:p>
            <a:pPr marL="0" marR="0" lvl="0" indent="0" algn="l" defTabSz="914377" rtl="0" eaLnBrk="1" fontAlgn="auto" latinLnBrk="0" hangingPunct="1">
              <a:lnSpc>
                <a:spcPct val="100000"/>
              </a:lnSpc>
              <a:spcBef>
                <a:spcPct val="0"/>
              </a:spcBef>
              <a:spcAft>
                <a:spcPts val="300"/>
              </a:spcAft>
              <a:buClrTx/>
              <a:buSzTx/>
              <a:buFontTx/>
              <a:buNone/>
              <a:tabLst/>
              <a:defRPr/>
            </a:pPr>
            <a:r>
              <a:rPr lang="en-GB" noProof="0" dirty="0"/>
              <a:t>Agenda</a:t>
            </a:r>
            <a:endParaRPr lang="de-DE" dirty="0"/>
          </a:p>
        </p:txBody>
      </p:sp>
    </p:spTree>
    <p:extLst>
      <p:ext uri="{BB962C8B-B14F-4D97-AF65-F5344CB8AC3E}">
        <p14:creationId xmlns:p14="http://schemas.microsoft.com/office/powerpoint/2010/main" val="124493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p15="http://schemas.microsoft.com/office/powerpoint/2012/main">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Agenda_2columns_white">
    <p:spTree>
      <p:nvGrpSpPr>
        <p:cNvPr id="1" name=""/>
        <p:cNvGrpSpPr/>
        <p:nvPr/>
      </p:nvGrpSpPr>
      <p:grpSpPr>
        <a:xfrm>
          <a:off x="0" y="0"/>
          <a:ext cx="0" cy="0"/>
          <a:chOff x="0" y="0"/>
          <a:chExt cx="0" cy="0"/>
        </a:xfrm>
      </p:grpSpPr>
      <p:sp>
        <p:nvSpPr>
          <p:cNvPr id="3" name="Slide Number Placeholder 3"/>
          <p:cNvSpPr>
            <a:spLocks noGrp="1"/>
          </p:cNvSpPr>
          <p:nvPr>
            <p:ph type="sldNum" sz="quarter" idx="12"/>
          </p:nvPr>
        </p:nvSpPr>
        <p:spPr>
          <a:xfrm>
            <a:off x="9574315" y="6308726"/>
            <a:ext cx="2057400" cy="274637"/>
          </a:xfrm>
          <a:prstGeom prst="rect">
            <a:avLst/>
          </a:prstGeom>
        </p:spPr>
        <p:txBody>
          <a:bodyPr/>
          <a:lstStyle>
            <a:lvl1pPr algn="r">
              <a:defRPr sz="1000">
                <a:solidFill>
                  <a:srgbClr val="000000"/>
                </a:solidFill>
              </a:defRPr>
            </a:lvl1pPr>
          </a:lstStyle>
          <a:p>
            <a:fld id="{233A6FC5-1036-43C3-853B-572AC8189C00}" type="slidenum">
              <a:rPr lang="en-GB" noProof="0" smtClean="0"/>
              <a:pPr/>
              <a:t>‹#›</a:t>
            </a:fld>
            <a:endParaRPr lang="en-GB" noProof="0" dirty="0"/>
          </a:p>
        </p:txBody>
      </p:sp>
      <p:sp>
        <p:nvSpPr>
          <p:cNvPr id="9" name="Text Placeholder 5"/>
          <p:cNvSpPr>
            <a:spLocks noGrp="1"/>
          </p:cNvSpPr>
          <p:nvPr>
            <p:ph type="body" sz="quarter" idx="14" hasCustomPrompt="1"/>
          </p:nvPr>
        </p:nvSpPr>
        <p:spPr>
          <a:xfrm>
            <a:off x="3332315" y="1991199"/>
            <a:ext cx="3960000" cy="4317526"/>
          </a:xfrm>
          <a:prstGeom prst="rect">
            <a:avLst/>
          </a:prstGeom>
        </p:spPr>
        <p:txBody>
          <a:bodyPr lIns="0" anchor="t">
            <a:noAutofit/>
          </a:bodyPr>
          <a:lstStyle>
            <a:lvl1pPr marL="342900" indent="-342900">
              <a:lnSpc>
                <a:spcPct val="175000"/>
              </a:lnSpc>
              <a:spcBef>
                <a:spcPts val="0"/>
              </a:spcBef>
              <a:buFont typeface="+mj-lt"/>
              <a:buAutoNum type="arabicPeriod"/>
              <a:defRPr sz="1800" b="1" i="0" baseline="0">
                <a:solidFill>
                  <a:srgbClr val="000000"/>
                </a:solidFill>
              </a:defRPr>
            </a:lvl1pPr>
          </a:lstStyle>
          <a:p>
            <a:pPr lvl="0"/>
            <a:r>
              <a:rPr lang="en-GB" noProof="0" dirty="0"/>
              <a:t>Item 1 (18pt)</a:t>
            </a:r>
          </a:p>
        </p:txBody>
      </p:sp>
      <p:sp>
        <p:nvSpPr>
          <p:cNvPr id="10" name="Text Placeholder 5"/>
          <p:cNvSpPr>
            <a:spLocks noGrp="1"/>
          </p:cNvSpPr>
          <p:nvPr>
            <p:ph type="body" sz="quarter" idx="15" hasCustomPrompt="1"/>
          </p:nvPr>
        </p:nvSpPr>
        <p:spPr>
          <a:xfrm>
            <a:off x="7676829" y="1991199"/>
            <a:ext cx="3960000" cy="4317526"/>
          </a:xfrm>
          <a:prstGeom prst="rect">
            <a:avLst/>
          </a:prstGeom>
        </p:spPr>
        <p:txBody>
          <a:bodyPr lIns="0" anchor="t">
            <a:noAutofit/>
          </a:bodyPr>
          <a:lstStyle>
            <a:lvl1pPr marL="342900" indent="-342900">
              <a:lnSpc>
                <a:spcPct val="175000"/>
              </a:lnSpc>
              <a:spcBef>
                <a:spcPts val="0"/>
              </a:spcBef>
              <a:buFont typeface="+mj-lt"/>
              <a:buAutoNum type="arabicPeriod" startAt="9"/>
              <a:defRPr sz="1800" b="1" i="0" baseline="0">
                <a:solidFill>
                  <a:srgbClr val="000000"/>
                </a:solidFill>
              </a:defRPr>
            </a:lvl1pPr>
          </a:lstStyle>
          <a:p>
            <a:pPr lvl="0"/>
            <a:r>
              <a:rPr lang="en-GB" noProof="0" dirty="0"/>
              <a:t>Item 9 (18pt)</a:t>
            </a:r>
          </a:p>
        </p:txBody>
      </p:sp>
      <p:sp>
        <p:nvSpPr>
          <p:cNvPr id="6" name="Titel 4">
            <a:extLst>
              <a:ext uri="{FF2B5EF4-FFF2-40B4-BE49-F238E27FC236}">
                <a16:creationId xmlns:a16="http://schemas.microsoft.com/office/drawing/2014/main" id="{3FFA3668-FB61-4E79-99A8-8719D07BD2F5}"/>
              </a:ext>
            </a:extLst>
          </p:cNvPr>
          <p:cNvSpPr>
            <a:spLocks noGrp="1"/>
          </p:cNvSpPr>
          <p:nvPr>
            <p:ph type="title" hasCustomPrompt="1"/>
          </p:nvPr>
        </p:nvSpPr>
        <p:spPr>
          <a:xfrm>
            <a:off x="555365" y="1991200"/>
            <a:ext cx="2113945" cy="537146"/>
          </a:xfrm>
        </p:spPr>
        <p:txBody>
          <a:bodyPr>
            <a:noAutofit/>
          </a:bodyPr>
          <a:lstStyle>
            <a:lvl1pPr>
              <a:defRPr lang="de-DE" sz="3600" b="1" i="0" kern="1200" baseline="0" dirty="0">
                <a:solidFill>
                  <a:srgbClr val="000000"/>
                </a:solidFill>
                <a:latin typeface="+mn-lt"/>
                <a:ea typeface="+mn-ea"/>
                <a:cs typeface="+mn-cs"/>
              </a:defRPr>
            </a:lvl1pPr>
          </a:lstStyle>
          <a:p>
            <a:pPr marL="0" marR="0" lvl="0" indent="0" algn="l" defTabSz="914377" rtl="0" eaLnBrk="1" fontAlgn="auto" latinLnBrk="0" hangingPunct="1">
              <a:lnSpc>
                <a:spcPct val="100000"/>
              </a:lnSpc>
              <a:spcBef>
                <a:spcPct val="0"/>
              </a:spcBef>
              <a:spcAft>
                <a:spcPts val="300"/>
              </a:spcAft>
              <a:buClrTx/>
              <a:buSzTx/>
              <a:buFontTx/>
              <a:buNone/>
              <a:tabLst/>
              <a:defRPr/>
            </a:pPr>
            <a:r>
              <a:rPr lang="en-GB" noProof="0" dirty="0"/>
              <a:t>Agenda</a:t>
            </a:r>
            <a:endParaRPr lang="de-DE" dirty="0"/>
          </a:p>
        </p:txBody>
      </p:sp>
    </p:spTree>
    <p:extLst>
      <p:ext uri="{BB962C8B-B14F-4D97-AF65-F5344CB8AC3E}">
        <p14:creationId xmlns:p14="http://schemas.microsoft.com/office/powerpoint/2010/main" val="3856248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5="http://schemas.microsoft.com/office/powerpoint/2012/main">
      <p:transition spd="med">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_slide_blue_V1_logo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A8FB721-BDDF-FB48-90B8-55481CA2A338}"/>
              </a:ext>
            </a:extLst>
          </p:cNvPr>
          <p:cNvSpPr/>
          <p:nvPr/>
        </p:nvSpPr>
        <p:spPr>
          <a:xfrm>
            <a:off x="0" y="1"/>
            <a:ext cx="12192000" cy="5663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351"/>
          </a:p>
        </p:txBody>
      </p:sp>
      <p:sp>
        <p:nvSpPr>
          <p:cNvPr id="7" name="Picture Placeholder 4">
            <a:extLst>
              <a:ext uri="{FF2B5EF4-FFF2-40B4-BE49-F238E27FC236}">
                <a16:creationId xmlns:a16="http://schemas.microsoft.com/office/drawing/2014/main" id="{DBEF03A9-9766-4E71-BCF8-20B6B18ADFFA}"/>
              </a:ext>
            </a:extLst>
          </p:cNvPr>
          <p:cNvSpPr>
            <a:spLocks noGrp="1"/>
          </p:cNvSpPr>
          <p:nvPr>
            <p:ph type="pic" sz="quarter" idx="13" hasCustomPrompt="1"/>
          </p:nvPr>
        </p:nvSpPr>
        <p:spPr>
          <a:xfrm>
            <a:off x="550865" y="5953775"/>
            <a:ext cx="1812215" cy="603887"/>
          </a:xfrm>
          <a:prstGeom prst="rect">
            <a:avLst/>
          </a:prstGeom>
          <a:noFill/>
        </p:spPr>
        <p:txBody>
          <a:bodyPr anchor="ctr"/>
          <a:lstStyle>
            <a:lvl1pPr marL="0" indent="0" algn="ctr">
              <a:buNone/>
              <a:defRPr sz="1400"/>
            </a:lvl1pPr>
          </a:lstStyle>
          <a:p>
            <a:r>
              <a:rPr lang="en-GB" dirty="0"/>
              <a:t>Logo</a:t>
            </a:r>
          </a:p>
        </p:txBody>
      </p:sp>
      <p:sp>
        <p:nvSpPr>
          <p:cNvPr id="8" name="Picture Placeholder 4">
            <a:extLst>
              <a:ext uri="{FF2B5EF4-FFF2-40B4-BE49-F238E27FC236}">
                <a16:creationId xmlns:a16="http://schemas.microsoft.com/office/drawing/2014/main" id="{AB8A5E0D-044D-48F2-BEB1-5547E5911248}"/>
              </a:ext>
            </a:extLst>
          </p:cNvPr>
          <p:cNvSpPr>
            <a:spLocks noGrp="1"/>
          </p:cNvSpPr>
          <p:nvPr>
            <p:ph type="pic" sz="quarter" idx="14" hasCustomPrompt="1"/>
          </p:nvPr>
        </p:nvSpPr>
        <p:spPr>
          <a:xfrm>
            <a:off x="2496353" y="5953775"/>
            <a:ext cx="1812215" cy="603887"/>
          </a:xfrm>
          <a:prstGeom prst="rect">
            <a:avLst/>
          </a:prstGeom>
          <a:noFill/>
        </p:spPr>
        <p:txBody>
          <a:bodyPr anchor="ctr"/>
          <a:lstStyle>
            <a:lvl1pPr marL="0" indent="0" algn="ctr">
              <a:buNone/>
              <a:defRPr sz="1400"/>
            </a:lvl1pPr>
          </a:lstStyle>
          <a:p>
            <a:r>
              <a:rPr lang="en-GB" dirty="0"/>
              <a:t>Logo</a:t>
            </a:r>
          </a:p>
        </p:txBody>
      </p:sp>
      <p:sp>
        <p:nvSpPr>
          <p:cNvPr id="10" name="Picture Placeholder 4">
            <a:extLst>
              <a:ext uri="{FF2B5EF4-FFF2-40B4-BE49-F238E27FC236}">
                <a16:creationId xmlns:a16="http://schemas.microsoft.com/office/drawing/2014/main" id="{7DFC7AB1-8265-498F-A74A-371A0185A4A6}"/>
              </a:ext>
            </a:extLst>
          </p:cNvPr>
          <p:cNvSpPr>
            <a:spLocks noGrp="1"/>
          </p:cNvSpPr>
          <p:nvPr>
            <p:ph type="pic" sz="quarter" idx="15" hasCustomPrompt="1"/>
          </p:nvPr>
        </p:nvSpPr>
        <p:spPr>
          <a:xfrm>
            <a:off x="4441839" y="5953775"/>
            <a:ext cx="1812215" cy="603887"/>
          </a:xfrm>
          <a:prstGeom prst="rect">
            <a:avLst/>
          </a:prstGeom>
          <a:noFill/>
        </p:spPr>
        <p:txBody>
          <a:bodyPr anchor="ctr"/>
          <a:lstStyle>
            <a:lvl1pPr marL="0" indent="0" algn="ctr">
              <a:buNone/>
              <a:defRPr sz="1400"/>
            </a:lvl1pPr>
          </a:lstStyle>
          <a:p>
            <a:r>
              <a:rPr lang="en-GB" dirty="0"/>
              <a:t>Logo</a:t>
            </a:r>
          </a:p>
        </p:txBody>
      </p:sp>
      <p:sp>
        <p:nvSpPr>
          <p:cNvPr id="14" name="Picture Placeholder 4">
            <a:extLst>
              <a:ext uri="{FF2B5EF4-FFF2-40B4-BE49-F238E27FC236}">
                <a16:creationId xmlns:a16="http://schemas.microsoft.com/office/drawing/2014/main" id="{AB8A5E0D-044D-48F2-BEB1-5547E5911248}"/>
              </a:ext>
            </a:extLst>
          </p:cNvPr>
          <p:cNvSpPr>
            <a:spLocks noGrp="1"/>
          </p:cNvSpPr>
          <p:nvPr>
            <p:ph type="pic" sz="quarter" idx="16" hasCustomPrompt="1"/>
          </p:nvPr>
        </p:nvSpPr>
        <p:spPr>
          <a:xfrm>
            <a:off x="6387326" y="5953775"/>
            <a:ext cx="1812215" cy="603887"/>
          </a:xfrm>
          <a:prstGeom prst="rect">
            <a:avLst/>
          </a:prstGeom>
          <a:noFill/>
        </p:spPr>
        <p:txBody>
          <a:bodyPr anchor="ctr"/>
          <a:lstStyle>
            <a:lvl1pPr marL="0" indent="0" algn="ctr">
              <a:buNone/>
              <a:defRPr sz="1400"/>
            </a:lvl1pPr>
          </a:lstStyle>
          <a:p>
            <a:r>
              <a:rPr lang="en-GB" dirty="0"/>
              <a:t>Logo</a:t>
            </a:r>
          </a:p>
        </p:txBody>
      </p:sp>
      <p:sp>
        <p:nvSpPr>
          <p:cNvPr id="15" name="Picture Placeholder 4">
            <a:extLst>
              <a:ext uri="{FF2B5EF4-FFF2-40B4-BE49-F238E27FC236}">
                <a16:creationId xmlns:a16="http://schemas.microsoft.com/office/drawing/2014/main" id="{7DFC7AB1-8265-498F-A74A-371A0185A4A6}"/>
              </a:ext>
            </a:extLst>
          </p:cNvPr>
          <p:cNvSpPr>
            <a:spLocks noGrp="1"/>
          </p:cNvSpPr>
          <p:nvPr>
            <p:ph type="pic" sz="quarter" idx="17" hasCustomPrompt="1"/>
          </p:nvPr>
        </p:nvSpPr>
        <p:spPr>
          <a:xfrm>
            <a:off x="8332814" y="5953775"/>
            <a:ext cx="1812215" cy="603887"/>
          </a:xfrm>
          <a:prstGeom prst="rect">
            <a:avLst/>
          </a:prstGeom>
          <a:noFill/>
        </p:spPr>
        <p:txBody>
          <a:bodyPr anchor="ctr"/>
          <a:lstStyle>
            <a:lvl1pPr marL="0" indent="0" algn="ctr">
              <a:buNone/>
              <a:defRPr sz="1400"/>
            </a:lvl1pPr>
          </a:lstStyle>
          <a:p>
            <a:r>
              <a:rPr lang="en-GB" dirty="0"/>
              <a:t>Logo</a:t>
            </a:r>
          </a:p>
        </p:txBody>
      </p:sp>
      <p:sp>
        <p:nvSpPr>
          <p:cNvPr id="4" name="Freeform 5"/>
          <p:cNvSpPr>
            <a:spLocks noEditPoints="1"/>
          </p:cNvSpPr>
          <p:nvPr/>
        </p:nvSpPr>
        <p:spPr bwMode="auto">
          <a:xfrm>
            <a:off x="8853488" y="569913"/>
            <a:ext cx="2760662" cy="550862"/>
          </a:xfrm>
          <a:custGeom>
            <a:avLst/>
            <a:gdLst>
              <a:gd name="T0" fmla="*/ 1563 w 1739"/>
              <a:gd name="T1" fmla="*/ 102 h 347"/>
              <a:gd name="T2" fmla="*/ 1576 w 1739"/>
              <a:gd name="T3" fmla="*/ 131 h 347"/>
              <a:gd name="T4" fmla="*/ 1546 w 1739"/>
              <a:gd name="T5" fmla="*/ 119 h 347"/>
              <a:gd name="T6" fmla="*/ 1503 w 1739"/>
              <a:gd name="T7" fmla="*/ 336 h 347"/>
              <a:gd name="T8" fmla="*/ 1595 w 1739"/>
              <a:gd name="T9" fmla="*/ 344 h 347"/>
              <a:gd name="T10" fmla="*/ 1653 w 1739"/>
              <a:gd name="T11" fmla="*/ 283 h 347"/>
              <a:gd name="T12" fmla="*/ 1609 w 1739"/>
              <a:gd name="T13" fmla="*/ 195 h 347"/>
              <a:gd name="T14" fmla="*/ 1601 w 1739"/>
              <a:gd name="T15" fmla="*/ 131 h 347"/>
              <a:gd name="T16" fmla="*/ 1592 w 1739"/>
              <a:gd name="T17" fmla="*/ 91 h 347"/>
              <a:gd name="T18" fmla="*/ 1547 w 1739"/>
              <a:gd name="T19" fmla="*/ 84 h 347"/>
              <a:gd name="T20" fmla="*/ 1523 w 1739"/>
              <a:gd name="T21" fmla="*/ 119 h 347"/>
              <a:gd name="T22" fmla="*/ 1518 w 1739"/>
              <a:gd name="T23" fmla="*/ 172 h 347"/>
              <a:gd name="T24" fmla="*/ 1489 w 1739"/>
              <a:gd name="T25" fmla="*/ 295 h 347"/>
              <a:gd name="T26" fmla="*/ 1395 w 1739"/>
              <a:gd name="T27" fmla="*/ 122 h 347"/>
              <a:gd name="T28" fmla="*/ 1466 w 1739"/>
              <a:gd name="T29" fmla="*/ 30 h 347"/>
              <a:gd name="T30" fmla="*/ 1564 w 1739"/>
              <a:gd name="T31" fmla="*/ 0 h 347"/>
              <a:gd name="T32" fmla="*/ 1675 w 1739"/>
              <a:gd name="T33" fmla="*/ 40 h 347"/>
              <a:gd name="T34" fmla="*/ 1736 w 1739"/>
              <a:gd name="T35" fmla="*/ 137 h 347"/>
              <a:gd name="T36" fmla="*/ 1727 w 1739"/>
              <a:gd name="T37" fmla="*/ 233 h 347"/>
              <a:gd name="T38" fmla="*/ 1681 w 1739"/>
              <a:gd name="T39" fmla="*/ 253 h 347"/>
              <a:gd name="T40" fmla="*/ 1707 w 1739"/>
              <a:gd name="T41" fmla="*/ 172 h 347"/>
              <a:gd name="T42" fmla="*/ 1682 w 1739"/>
              <a:gd name="T43" fmla="*/ 93 h 347"/>
              <a:gd name="T44" fmla="*/ 1606 w 1739"/>
              <a:gd name="T45" fmla="*/ 37 h 347"/>
              <a:gd name="T46" fmla="*/ 1521 w 1739"/>
              <a:gd name="T47" fmla="*/ 37 h 347"/>
              <a:gd name="T48" fmla="*/ 1446 w 1739"/>
              <a:gd name="T49" fmla="*/ 93 h 347"/>
              <a:gd name="T50" fmla="*/ 1422 w 1739"/>
              <a:gd name="T51" fmla="*/ 172 h 347"/>
              <a:gd name="T52" fmla="*/ 1446 w 1739"/>
              <a:gd name="T53" fmla="*/ 253 h 347"/>
              <a:gd name="T54" fmla="*/ 1400 w 1739"/>
              <a:gd name="T55" fmla="*/ 233 h 347"/>
              <a:gd name="T56" fmla="*/ 1238 w 1739"/>
              <a:gd name="T57" fmla="*/ 119 h 347"/>
              <a:gd name="T58" fmla="*/ 1216 w 1739"/>
              <a:gd name="T59" fmla="*/ 227 h 347"/>
              <a:gd name="T60" fmla="*/ 1164 w 1739"/>
              <a:gd name="T61" fmla="*/ 143 h 347"/>
              <a:gd name="T62" fmla="*/ 1014 w 1739"/>
              <a:gd name="T63" fmla="*/ 161 h 347"/>
              <a:gd name="T64" fmla="*/ 1066 w 1739"/>
              <a:gd name="T65" fmla="*/ 116 h 347"/>
              <a:gd name="T66" fmla="*/ 1107 w 1739"/>
              <a:gd name="T67" fmla="*/ 137 h 347"/>
              <a:gd name="T68" fmla="*/ 1072 w 1739"/>
              <a:gd name="T69" fmla="*/ 140 h 347"/>
              <a:gd name="T70" fmla="*/ 1046 w 1739"/>
              <a:gd name="T71" fmla="*/ 154 h 347"/>
              <a:gd name="T72" fmla="*/ 1052 w 1739"/>
              <a:gd name="T73" fmla="*/ 201 h 347"/>
              <a:gd name="T74" fmla="*/ 1086 w 1739"/>
              <a:gd name="T75" fmla="*/ 187 h 347"/>
              <a:gd name="T76" fmla="*/ 1092 w 1739"/>
              <a:gd name="T77" fmla="*/ 227 h 347"/>
              <a:gd name="T78" fmla="*/ 1027 w 1739"/>
              <a:gd name="T79" fmla="*/ 216 h 347"/>
              <a:gd name="T80" fmla="*/ 951 w 1739"/>
              <a:gd name="T81" fmla="*/ 148 h 347"/>
              <a:gd name="T82" fmla="*/ 978 w 1739"/>
              <a:gd name="T83" fmla="*/ 227 h 347"/>
              <a:gd name="T84" fmla="*/ 813 w 1739"/>
              <a:gd name="T85" fmla="*/ 163 h 347"/>
              <a:gd name="T86" fmla="*/ 787 w 1739"/>
              <a:gd name="T87" fmla="*/ 119 h 347"/>
              <a:gd name="T88" fmla="*/ 724 w 1739"/>
              <a:gd name="T89" fmla="*/ 170 h 347"/>
              <a:gd name="T90" fmla="*/ 664 w 1739"/>
              <a:gd name="T91" fmla="*/ 184 h 347"/>
              <a:gd name="T92" fmla="*/ 643 w 1739"/>
              <a:gd name="T93" fmla="*/ 161 h 347"/>
              <a:gd name="T94" fmla="*/ 449 w 1739"/>
              <a:gd name="T95" fmla="*/ 227 h 347"/>
              <a:gd name="T96" fmla="*/ 518 w 1739"/>
              <a:gd name="T97" fmla="*/ 183 h 347"/>
              <a:gd name="T98" fmla="*/ 396 w 1739"/>
              <a:gd name="T99" fmla="*/ 186 h 347"/>
              <a:gd name="T100" fmla="*/ 357 w 1739"/>
              <a:gd name="T101" fmla="*/ 119 h 347"/>
              <a:gd name="T102" fmla="*/ 253 w 1739"/>
              <a:gd name="T103" fmla="*/ 184 h 347"/>
              <a:gd name="T104" fmla="*/ 225 w 1739"/>
              <a:gd name="T105" fmla="*/ 119 h 347"/>
              <a:gd name="T106" fmla="*/ 121 w 1739"/>
              <a:gd name="T107" fmla="*/ 219 h 347"/>
              <a:gd name="T108" fmla="*/ 172 w 1739"/>
              <a:gd name="T109" fmla="*/ 228 h 347"/>
              <a:gd name="T110" fmla="*/ 201 w 1739"/>
              <a:gd name="T111" fmla="*/ 119 h 347"/>
              <a:gd name="T112" fmla="*/ 155 w 1739"/>
              <a:gd name="T113" fmla="*/ 205 h 347"/>
              <a:gd name="T114" fmla="*/ 107 w 1739"/>
              <a:gd name="T115" fmla="*/ 119 h 347"/>
              <a:gd name="T116" fmla="*/ 97 w 1739"/>
              <a:gd name="T117" fmla="*/ 227 h 347"/>
              <a:gd name="T118" fmla="*/ 0 w 1739"/>
              <a:gd name="T119" fmla="*/ 22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39" h="347">
                <a:moveTo>
                  <a:pt x="1546" y="119"/>
                </a:moveTo>
                <a:lnTo>
                  <a:pt x="1546" y="119"/>
                </a:lnTo>
                <a:lnTo>
                  <a:pt x="1547" y="113"/>
                </a:lnTo>
                <a:lnTo>
                  <a:pt x="1550" y="107"/>
                </a:lnTo>
                <a:lnTo>
                  <a:pt x="1557" y="103"/>
                </a:lnTo>
                <a:lnTo>
                  <a:pt x="1563" y="102"/>
                </a:lnTo>
                <a:lnTo>
                  <a:pt x="1563" y="102"/>
                </a:lnTo>
                <a:lnTo>
                  <a:pt x="1570" y="103"/>
                </a:lnTo>
                <a:lnTo>
                  <a:pt x="1576" y="107"/>
                </a:lnTo>
                <a:lnTo>
                  <a:pt x="1580" y="113"/>
                </a:lnTo>
                <a:lnTo>
                  <a:pt x="1581" y="119"/>
                </a:lnTo>
                <a:lnTo>
                  <a:pt x="1581" y="119"/>
                </a:lnTo>
                <a:lnTo>
                  <a:pt x="1580" y="126"/>
                </a:lnTo>
                <a:lnTo>
                  <a:pt x="1576" y="131"/>
                </a:lnTo>
                <a:lnTo>
                  <a:pt x="1570" y="135"/>
                </a:lnTo>
                <a:lnTo>
                  <a:pt x="1563" y="137"/>
                </a:lnTo>
                <a:lnTo>
                  <a:pt x="1563" y="137"/>
                </a:lnTo>
                <a:lnTo>
                  <a:pt x="1557" y="135"/>
                </a:lnTo>
                <a:lnTo>
                  <a:pt x="1550" y="131"/>
                </a:lnTo>
                <a:lnTo>
                  <a:pt x="1547" y="126"/>
                </a:lnTo>
                <a:lnTo>
                  <a:pt x="1546" y="119"/>
                </a:lnTo>
                <a:lnTo>
                  <a:pt x="1546" y="119"/>
                </a:lnTo>
                <a:close/>
                <a:moveTo>
                  <a:pt x="1451" y="306"/>
                </a:moveTo>
                <a:lnTo>
                  <a:pt x="1451" y="306"/>
                </a:lnTo>
                <a:lnTo>
                  <a:pt x="1463" y="315"/>
                </a:lnTo>
                <a:lnTo>
                  <a:pt x="1475" y="323"/>
                </a:lnTo>
                <a:lnTo>
                  <a:pt x="1489" y="330"/>
                </a:lnTo>
                <a:lnTo>
                  <a:pt x="1503" y="336"/>
                </a:lnTo>
                <a:lnTo>
                  <a:pt x="1518" y="341"/>
                </a:lnTo>
                <a:lnTo>
                  <a:pt x="1532" y="344"/>
                </a:lnTo>
                <a:lnTo>
                  <a:pt x="1547" y="345"/>
                </a:lnTo>
                <a:lnTo>
                  <a:pt x="1564" y="347"/>
                </a:lnTo>
                <a:lnTo>
                  <a:pt x="1564" y="347"/>
                </a:lnTo>
                <a:lnTo>
                  <a:pt x="1580" y="345"/>
                </a:lnTo>
                <a:lnTo>
                  <a:pt x="1595" y="344"/>
                </a:lnTo>
                <a:lnTo>
                  <a:pt x="1609" y="341"/>
                </a:lnTo>
                <a:lnTo>
                  <a:pt x="1624" y="336"/>
                </a:lnTo>
                <a:lnTo>
                  <a:pt x="1638" y="330"/>
                </a:lnTo>
                <a:lnTo>
                  <a:pt x="1652" y="323"/>
                </a:lnTo>
                <a:lnTo>
                  <a:pt x="1664" y="315"/>
                </a:lnTo>
                <a:lnTo>
                  <a:pt x="1676" y="306"/>
                </a:lnTo>
                <a:lnTo>
                  <a:pt x="1653" y="283"/>
                </a:lnTo>
                <a:lnTo>
                  <a:pt x="1653" y="283"/>
                </a:lnTo>
                <a:lnTo>
                  <a:pt x="1638" y="295"/>
                </a:lnTo>
                <a:lnTo>
                  <a:pt x="1619" y="306"/>
                </a:lnTo>
                <a:lnTo>
                  <a:pt x="1599" y="314"/>
                </a:lnTo>
                <a:lnTo>
                  <a:pt x="1580" y="317"/>
                </a:lnTo>
                <a:lnTo>
                  <a:pt x="1580" y="195"/>
                </a:lnTo>
                <a:lnTo>
                  <a:pt x="1609" y="195"/>
                </a:lnTo>
                <a:lnTo>
                  <a:pt x="1609" y="172"/>
                </a:lnTo>
                <a:lnTo>
                  <a:pt x="1580" y="172"/>
                </a:lnTo>
                <a:lnTo>
                  <a:pt x="1580" y="154"/>
                </a:lnTo>
                <a:lnTo>
                  <a:pt x="1580" y="154"/>
                </a:lnTo>
                <a:lnTo>
                  <a:pt x="1589" y="149"/>
                </a:lnTo>
                <a:lnTo>
                  <a:pt x="1596" y="142"/>
                </a:lnTo>
                <a:lnTo>
                  <a:pt x="1601" y="131"/>
                </a:lnTo>
                <a:lnTo>
                  <a:pt x="1603" y="125"/>
                </a:lnTo>
                <a:lnTo>
                  <a:pt x="1604" y="119"/>
                </a:lnTo>
                <a:lnTo>
                  <a:pt x="1604" y="119"/>
                </a:lnTo>
                <a:lnTo>
                  <a:pt x="1603" y="111"/>
                </a:lnTo>
                <a:lnTo>
                  <a:pt x="1601" y="103"/>
                </a:lnTo>
                <a:lnTo>
                  <a:pt x="1596" y="97"/>
                </a:lnTo>
                <a:lnTo>
                  <a:pt x="1592" y="91"/>
                </a:lnTo>
                <a:lnTo>
                  <a:pt x="1586" y="87"/>
                </a:lnTo>
                <a:lnTo>
                  <a:pt x="1580" y="84"/>
                </a:lnTo>
                <a:lnTo>
                  <a:pt x="1572" y="81"/>
                </a:lnTo>
                <a:lnTo>
                  <a:pt x="1564" y="81"/>
                </a:lnTo>
                <a:lnTo>
                  <a:pt x="1564" y="81"/>
                </a:lnTo>
                <a:lnTo>
                  <a:pt x="1555" y="81"/>
                </a:lnTo>
                <a:lnTo>
                  <a:pt x="1547" y="84"/>
                </a:lnTo>
                <a:lnTo>
                  <a:pt x="1541" y="87"/>
                </a:lnTo>
                <a:lnTo>
                  <a:pt x="1535" y="91"/>
                </a:lnTo>
                <a:lnTo>
                  <a:pt x="1530" y="97"/>
                </a:lnTo>
                <a:lnTo>
                  <a:pt x="1526" y="103"/>
                </a:lnTo>
                <a:lnTo>
                  <a:pt x="1524" y="111"/>
                </a:lnTo>
                <a:lnTo>
                  <a:pt x="1523" y="119"/>
                </a:lnTo>
                <a:lnTo>
                  <a:pt x="1523" y="119"/>
                </a:lnTo>
                <a:lnTo>
                  <a:pt x="1524" y="125"/>
                </a:lnTo>
                <a:lnTo>
                  <a:pt x="1526" y="131"/>
                </a:lnTo>
                <a:lnTo>
                  <a:pt x="1530" y="142"/>
                </a:lnTo>
                <a:lnTo>
                  <a:pt x="1538" y="149"/>
                </a:lnTo>
                <a:lnTo>
                  <a:pt x="1547" y="154"/>
                </a:lnTo>
                <a:lnTo>
                  <a:pt x="1547" y="172"/>
                </a:lnTo>
                <a:lnTo>
                  <a:pt x="1518" y="172"/>
                </a:lnTo>
                <a:lnTo>
                  <a:pt x="1518" y="195"/>
                </a:lnTo>
                <a:lnTo>
                  <a:pt x="1547" y="195"/>
                </a:lnTo>
                <a:lnTo>
                  <a:pt x="1547" y="317"/>
                </a:lnTo>
                <a:lnTo>
                  <a:pt x="1547" y="317"/>
                </a:lnTo>
                <a:lnTo>
                  <a:pt x="1527" y="314"/>
                </a:lnTo>
                <a:lnTo>
                  <a:pt x="1507" y="306"/>
                </a:lnTo>
                <a:lnTo>
                  <a:pt x="1489" y="295"/>
                </a:lnTo>
                <a:lnTo>
                  <a:pt x="1474" y="283"/>
                </a:lnTo>
                <a:lnTo>
                  <a:pt x="1451" y="306"/>
                </a:lnTo>
                <a:close/>
                <a:moveTo>
                  <a:pt x="1388" y="172"/>
                </a:moveTo>
                <a:lnTo>
                  <a:pt x="1388" y="172"/>
                </a:lnTo>
                <a:lnTo>
                  <a:pt x="1389" y="155"/>
                </a:lnTo>
                <a:lnTo>
                  <a:pt x="1392" y="137"/>
                </a:lnTo>
                <a:lnTo>
                  <a:pt x="1395" y="122"/>
                </a:lnTo>
                <a:lnTo>
                  <a:pt x="1402" y="105"/>
                </a:lnTo>
                <a:lnTo>
                  <a:pt x="1409" y="90"/>
                </a:lnTo>
                <a:lnTo>
                  <a:pt x="1418" y="76"/>
                </a:lnTo>
                <a:lnTo>
                  <a:pt x="1428" y="62"/>
                </a:lnTo>
                <a:lnTo>
                  <a:pt x="1440" y="50"/>
                </a:lnTo>
                <a:lnTo>
                  <a:pt x="1452" y="40"/>
                </a:lnTo>
                <a:lnTo>
                  <a:pt x="1466" y="30"/>
                </a:lnTo>
                <a:lnTo>
                  <a:pt x="1480" y="21"/>
                </a:lnTo>
                <a:lnTo>
                  <a:pt x="1495" y="14"/>
                </a:lnTo>
                <a:lnTo>
                  <a:pt x="1512" y="8"/>
                </a:lnTo>
                <a:lnTo>
                  <a:pt x="1529" y="5"/>
                </a:lnTo>
                <a:lnTo>
                  <a:pt x="1546" y="2"/>
                </a:lnTo>
                <a:lnTo>
                  <a:pt x="1564" y="0"/>
                </a:lnTo>
                <a:lnTo>
                  <a:pt x="1564" y="0"/>
                </a:lnTo>
                <a:lnTo>
                  <a:pt x="1581" y="2"/>
                </a:lnTo>
                <a:lnTo>
                  <a:pt x="1599" y="5"/>
                </a:lnTo>
                <a:lnTo>
                  <a:pt x="1615" y="8"/>
                </a:lnTo>
                <a:lnTo>
                  <a:pt x="1632" y="14"/>
                </a:lnTo>
                <a:lnTo>
                  <a:pt x="1647" y="21"/>
                </a:lnTo>
                <a:lnTo>
                  <a:pt x="1661" y="30"/>
                </a:lnTo>
                <a:lnTo>
                  <a:pt x="1675" y="40"/>
                </a:lnTo>
                <a:lnTo>
                  <a:pt x="1687" y="50"/>
                </a:lnTo>
                <a:lnTo>
                  <a:pt x="1699" y="62"/>
                </a:lnTo>
                <a:lnTo>
                  <a:pt x="1708" y="76"/>
                </a:lnTo>
                <a:lnTo>
                  <a:pt x="1718" y="90"/>
                </a:lnTo>
                <a:lnTo>
                  <a:pt x="1725" y="105"/>
                </a:lnTo>
                <a:lnTo>
                  <a:pt x="1731" y="122"/>
                </a:lnTo>
                <a:lnTo>
                  <a:pt x="1736" y="137"/>
                </a:lnTo>
                <a:lnTo>
                  <a:pt x="1737" y="155"/>
                </a:lnTo>
                <a:lnTo>
                  <a:pt x="1739" y="172"/>
                </a:lnTo>
                <a:lnTo>
                  <a:pt x="1739" y="172"/>
                </a:lnTo>
                <a:lnTo>
                  <a:pt x="1737" y="189"/>
                </a:lnTo>
                <a:lnTo>
                  <a:pt x="1736" y="204"/>
                </a:lnTo>
                <a:lnTo>
                  <a:pt x="1733" y="219"/>
                </a:lnTo>
                <a:lnTo>
                  <a:pt x="1727" y="233"/>
                </a:lnTo>
                <a:lnTo>
                  <a:pt x="1722" y="248"/>
                </a:lnTo>
                <a:lnTo>
                  <a:pt x="1714" y="260"/>
                </a:lnTo>
                <a:lnTo>
                  <a:pt x="1705" y="274"/>
                </a:lnTo>
                <a:lnTo>
                  <a:pt x="1696" y="286"/>
                </a:lnTo>
                <a:lnTo>
                  <a:pt x="1673" y="263"/>
                </a:lnTo>
                <a:lnTo>
                  <a:pt x="1673" y="263"/>
                </a:lnTo>
                <a:lnTo>
                  <a:pt x="1681" y="253"/>
                </a:lnTo>
                <a:lnTo>
                  <a:pt x="1687" y="242"/>
                </a:lnTo>
                <a:lnTo>
                  <a:pt x="1693" y="231"/>
                </a:lnTo>
                <a:lnTo>
                  <a:pt x="1698" y="221"/>
                </a:lnTo>
                <a:lnTo>
                  <a:pt x="1701" y="209"/>
                </a:lnTo>
                <a:lnTo>
                  <a:pt x="1704" y="196"/>
                </a:lnTo>
                <a:lnTo>
                  <a:pt x="1705" y="184"/>
                </a:lnTo>
                <a:lnTo>
                  <a:pt x="1707" y="172"/>
                </a:lnTo>
                <a:lnTo>
                  <a:pt x="1707" y="172"/>
                </a:lnTo>
                <a:lnTo>
                  <a:pt x="1705" y="158"/>
                </a:lnTo>
                <a:lnTo>
                  <a:pt x="1704" y="145"/>
                </a:lnTo>
                <a:lnTo>
                  <a:pt x="1699" y="131"/>
                </a:lnTo>
                <a:lnTo>
                  <a:pt x="1695" y="117"/>
                </a:lnTo>
                <a:lnTo>
                  <a:pt x="1688" y="105"/>
                </a:lnTo>
                <a:lnTo>
                  <a:pt x="1682" y="93"/>
                </a:lnTo>
                <a:lnTo>
                  <a:pt x="1673" y="82"/>
                </a:lnTo>
                <a:lnTo>
                  <a:pt x="1664" y="72"/>
                </a:lnTo>
                <a:lnTo>
                  <a:pt x="1655" y="62"/>
                </a:lnTo>
                <a:lnTo>
                  <a:pt x="1642" y="55"/>
                </a:lnTo>
                <a:lnTo>
                  <a:pt x="1632" y="47"/>
                </a:lnTo>
                <a:lnTo>
                  <a:pt x="1619" y="41"/>
                </a:lnTo>
                <a:lnTo>
                  <a:pt x="1606" y="37"/>
                </a:lnTo>
                <a:lnTo>
                  <a:pt x="1592" y="33"/>
                </a:lnTo>
                <a:lnTo>
                  <a:pt x="1578" y="30"/>
                </a:lnTo>
                <a:lnTo>
                  <a:pt x="1564" y="30"/>
                </a:lnTo>
                <a:lnTo>
                  <a:pt x="1564" y="30"/>
                </a:lnTo>
                <a:lnTo>
                  <a:pt x="1549" y="30"/>
                </a:lnTo>
                <a:lnTo>
                  <a:pt x="1535" y="33"/>
                </a:lnTo>
                <a:lnTo>
                  <a:pt x="1521" y="37"/>
                </a:lnTo>
                <a:lnTo>
                  <a:pt x="1507" y="41"/>
                </a:lnTo>
                <a:lnTo>
                  <a:pt x="1495" y="47"/>
                </a:lnTo>
                <a:lnTo>
                  <a:pt x="1484" y="55"/>
                </a:lnTo>
                <a:lnTo>
                  <a:pt x="1474" y="62"/>
                </a:lnTo>
                <a:lnTo>
                  <a:pt x="1463" y="72"/>
                </a:lnTo>
                <a:lnTo>
                  <a:pt x="1454" y="82"/>
                </a:lnTo>
                <a:lnTo>
                  <a:pt x="1446" y="93"/>
                </a:lnTo>
                <a:lnTo>
                  <a:pt x="1438" y="105"/>
                </a:lnTo>
                <a:lnTo>
                  <a:pt x="1432" y="117"/>
                </a:lnTo>
                <a:lnTo>
                  <a:pt x="1428" y="131"/>
                </a:lnTo>
                <a:lnTo>
                  <a:pt x="1423" y="145"/>
                </a:lnTo>
                <a:lnTo>
                  <a:pt x="1422" y="158"/>
                </a:lnTo>
                <a:lnTo>
                  <a:pt x="1422" y="172"/>
                </a:lnTo>
                <a:lnTo>
                  <a:pt x="1422" y="172"/>
                </a:lnTo>
                <a:lnTo>
                  <a:pt x="1422" y="184"/>
                </a:lnTo>
                <a:lnTo>
                  <a:pt x="1423" y="196"/>
                </a:lnTo>
                <a:lnTo>
                  <a:pt x="1426" y="209"/>
                </a:lnTo>
                <a:lnTo>
                  <a:pt x="1429" y="221"/>
                </a:lnTo>
                <a:lnTo>
                  <a:pt x="1434" y="231"/>
                </a:lnTo>
                <a:lnTo>
                  <a:pt x="1440" y="242"/>
                </a:lnTo>
                <a:lnTo>
                  <a:pt x="1446" y="253"/>
                </a:lnTo>
                <a:lnTo>
                  <a:pt x="1454" y="263"/>
                </a:lnTo>
                <a:lnTo>
                  <a:pt x="1431" y="286"/>
                </a:lnTo>
                <a:lnTo>
                  <a:pt x="1431" y="286"/>
                </a:lnTo>
                <a:lnTo>
                  <a:pt x="1422" y="274"/>
                </a:lnTo>
                <a:lnTo>
                  <a:pt x="1412" y="260"/>
                </a:lnTo>
                <a:lnTo>
                  <a:pt x="1406" y="248"/>
                </a:lnTo>
                <a:lnTo>
                  <a:pt x="1400" y="233"/>
                </a:lnTo>
                <a:lnTo>
                  <a:pt x="1394" y="219"/>
                </a:lnTo>
                <a:lnTo>
                  <a:pt x="1391" y="204"/>
                </a:lnTo>
                <a:lnTo>
                  <a:pt x="1389" y="189"/>
                </a:lnTo>
                <a:lnTo>
                  <a:pt x="1388" y="172"/>
                </a:lnTo>
                <a:lnTo>
                  <a:pt x="1388" y="172"/>
                </a:lnTo>
                <a:close/>
                <a:moveTo>
                  <a:pt x="1238" y="227"/>
                </a:moveTo>
                <a:lnTo>
                  <a:pt x="1238" y="119"/>
                </a:lnTo>
                <a:lnTo>
                  <a:pt x="1267" y="119"/>
                </a:lnTo>
                <a:lnTo>
                  <a:pt x="1267" y="202"/>
                </a:lnTo>
                <a:lnTo>
                  <a:pt x="1316" y="202"/>
                </a:lnTo>
                <a:lnTo>
                  <a:pt x="1316" y="227"/>
                </a:lnTo>
                <a:lnTo>
                  <a:pt x="1238" y="227"/>
                </a:lnTo>
                <a:close/>
                <a:moveTo>
                  <a:pt x="1136" y="227"/>
                </a:moveTo>
                <a:lnTo>
                  <a:pt x="1216" y="227"/>
                </a:lnTo>
                <a:lnTo>
                  <a:pt x="1216" y="202"/>
                </a:lnTo>
                <a:lnTo>
                  <a:pt x="1164" y="202"/>
                </a:lnTo>
                <a:lnTo>
                  <a:pt x="1164" y="184"/>
                </a:lnTo>
                <a:lnTo>
                  <a:pt x="1207" y="184"/>
                </a:lnTo>
                <a:lnTo>
                  <a:pt x="1207" y="161"/>
                </a:lnTo>
                <a:lnTo>
                  <a:pt x="1164" y="161"/>
                </a:lnTo>
                <a:lnTo>
                  <a:pt x="1164" y="143"/>
                </a:lnTo>
                <a:lnTo>
                  <a:pt x="1215" y="143"/>
                </a:lnTo>
                <a:lnTo>
                  <a:pt x="1215" y="119"/>
                </a:lnTo>
                <a:lnTo>
                  <a:pt x="1136" y="119"/>
                </a:lnTo>
                <a:lnTo>
                  <a:pt x="1136" y="227"/>
                </a:lnTo>
                <a:close/>
                <a:moveTo>
                  <a:pt x="1012" y="174"/>
                </a:moveTo>
                <a:lnTo>
                  <a:pt x="1012" y="174"/>
                </a:lnTo>
                <a:lnTo>
                  <a:pt x="1014" y="161"/>
                </a:lnTo>
                <a:lnTo>
                  <a:pt x="1017" y="151"/>
                </a:lnTo>
                <a:lnTo>
                  <a:pt x="1021" y="140"/>
                </a:lnTo>
                <a:lnTo>
                  <a:pt x="1027" y="132"/>
                </a:lnTo>
                <a:lnTo>
                  <a:pt x="1035" y="125"/>
                </a:lnTo>
                <a:lnTo>
                  <a:pt x="1044" y="120"/>
                </a:lnTo>
                <a:lnTo>
                  <a:pt x="1054" y="117"/>
                </a:lnTo>
                <a:lnTo>
                  <a:pt x="1066" y="116"/>
                </a:lnTo>
                <a:lnTo>
                  <a:pt x="1066" y="116"/>
                </a:lnTo>
                <a:lnTo>
                  <a:pt x="1075" y="117"/>
                </a:lnTo>
                <a:lnTo>
                  <a:pt x="1083" y="119"/>
                </a:lnTo>
                <a:lnTo>
                  <a:pt x="1090" y="122"/>
                </a:lnTo>
                <a:lnTo>
                  <a:pt x="1096" y="125"/>
                </a:lnTo>
                <a:lnTo>
                  <a:pt x="1103" y="131"/>
                </a:lnTo>
                <a:lnTo>
                  <a:pt x="1107" y="137"/>
                </a:lnTo>
                <a:lnTo>
                  <a:pt x="1112" y="145"/>
                </a:lnTo>
                <a:lnTo>
                  <a:pt x="1113" y="154"/>
                </a:lnTo>
                <a:lnTo>
                  <a:pt x="1084" y="154"/>
                </a:lnTo>
                <a:lnTo>
                  <a:pt x="1084" y="154"/>
                </a:lnTo>
                <a:lnTo>
                  <a:pt x="1081" y="146"/>
                </a:lnTo>
                <a:lnTo>
                  <a:pt x="1078" y="143"/>
                </a:lnTo>
                <a:lnTo>
                  <a:pt x="1072" y="140"/>
                </a:lnTo>
                <a:lnTo>
                  <a:pt x="1066" y="140"/>
                </a:lnTo>
                <a:lnTo>
                  <a:pt x="1066" y="140"/>
                </a:lnTo>
                <a:lnTo>
                  <a:pt x="1061" y="140"/>
                </a:lnTo>
                <a:lnTo>
                  <a:pt x="1055" y="143"/>
                </a:lnTo>
                <a:lnTo>
                  <a:pt x="1052" y="146"/>
                </a:lnTo>
                <a:lnTo>
                  <a:pt x="1047" y="149"/>
                </a:lnTo>
                <a:lnTo>
                  <a:pt x="1046" y="154"/>
                </a:lnTo>
                <a:lnTo>
                  <a:pt x="1043" y="160"/>
                </a:lnTo>
                <a:lnTo>
                  <a:pt x="1041" y="174"/>
                </a:lnTo>
                <a:lnTo>
                  <a:pt x="1041" y="174"/>
                </a:lnTo>
                <a:lnTo>
                  <a:pt x="1043" y="187"/>
                </a:lnTo>
                <a:lnTo>
                  <a:pt x="1046" y="192"/>
                </a:lnTo>
                <a:lnTo>
                  <a:pt x="1049" y="198"/>
                </a:lnTo>
                <a:lnTo>
                  <a:pt x="1052" y="201"/>
                </a:lnTo>
                <a:lnTo>
                  <a:pt x="1057" y="204"/>
                </a:lnTo>
                <a:lnTo>
                  <a:pt x="1061" y="207"/>
                </a:lnTo>
                <a:lnTo>
                  <a:pt x="1067" y="207"/>
                </a:lnTo>
                <a:lnTo>
                  <a:pt x="1067" y="207"/>
                </a:lnTo>
                <a:lnTo>
                  <a:pt x="1078" y="205"/>
                </a:lnTo>
                <a:lnTo>
                  <a:pt x="1086" y="202"/>
                </a:lnTo>
                <a:lnTo>
                  <a:pt x="1086" y="187"/>
                </a:lnTo>
                <a:lnTo>
                  <a:pt x="1067" y="187"/>
                </a:lnTo>
                <a:lnTo>
                  <a:pt x="1067" y="167"/>
                </a:lnTo>
                <a:lnTo>
                  <a:pt x="1113" y="167"/>
                </a:lnTo>
                <a:lnTo>
                  <a:pt x="1113" y="215"/>
                </a:lnTo>
                <a:lnTo>
                  <a:pt x="1113" y="215"/>
                </a:lnTo>
                <a:lnTo>
                  <a:pt x="1103" y="222"/>
                </a:lnTo>
                <a:lnTo>
                  <a:pt x="1092" y="227"/>
                </a:lnTo>
                <a:lnTo>
                  <a:pt x="1080" y="230"/>
                </a:lnTo>
                <a:lnTo>
                  <a:pt x="1070" y="231"/>
                </a:lnTo>
                <a:lnTo>
                  <a:pt x="1070" y="231"/>
                </a:lnTo>
                <a:lnTo>
                  <a:pt x="1057" y="230"/>
                </a:lnTo>
                <a:lnTo>
                  <a:pt x="1046" y="227"/>
                </a:lnTo>
                <a:lnTo>
                  <a:pt x="1035" y="222"/>
                </a:lnTo>
                <a:lnTo>
                  <a:pt x="1027" y="216"/>
                </a:lnTo>
                <a:lnTo>
                  <a:pt x="1021" y="207"/>
                </a:lnTo>
                <a:lnTo>
                  <a:pt x="1017" y="198"/>
                </a:lnTo>
                <a:lnTo>
                  <a:pt x="1014" y="186"/>
                </a:lnTo>
                <a:lnTo>
                  <a:pt x="1012" y="174"/>
                </a:lnTo>
                <a:lnTo>
                  <a:pt x="1012" y="174"/>
                </a:lnTo>
                <a:close/>
                <a:moveTo>
                  <a:pt x="937" y="189"/>
                </a:moveTo>
                <a:lnTo>
                  <a:pt x="951" y="148"/>
                </a:lnTo>
                <a:lnTo>
                  <a:pt x="965" y="189"/>
                </a:lnTo>
                <a:lnTo>
                  <a:pt x="937" y="189"/>
                </a:lnTo>
                <a:close/>
                <a:moveTo>
                  <a:pt x="894" y="227"/>
                </a:moveTo>
                <a:lnTo>
                  <a:pt x="925" y="227"/>
                </a:lnTo>
                <a:lnTo>
                  <a:pt x="929" y="210"/>
                </a:lnTo>
                <a:lnTo>
                  <a:pt x="972" y="210"/>
                </a:lnTo>
                <a:lnTo>
                  <a:pt x="978" y="227"/>
                </a:lnTo>
                <a:lnTo>
                  <a:pt x="1008" y="227"/>
                </a:lnTo>
                <a:lnTo>
                  <a:pt x="966" y="119"/>
                </a:lnTo>
                <a:lnTo>
                  <a:pt x="935" y="119"/>
                </a:lnTo>
                <a:lnTo>
                  <a:pt x="894" y="227"/>
                </a:lnTo>
                <a:close/>
                <a:moveTo>
                  <a:pt x="787" y="227"/>
                </a:moveTo>
                <a:lnTo>
                  <a:pt x="813" y="227"/>
                </a:lnTo>
                <a:lnTo>
                  <a:pt x="813" y="163"/>
                </a:lnTo>
                <a:lnTo>
                  <a:pt x="851" y="227"/>
                </a:lnTo>
                <a:lnTo>
                  <a:pt x="882" y="227"/>
                </a:lnTo>
                <a:lnTo>
                  <a:pt x="882" y="119"/>
                </a:lnTo>
                <a:lnTo>
                  <a:pt x="854" y="119"/>
                </a:lnTo>
                <a:lnTo>
                  <a:pt x="854" y="183"/>
                </a:lnTo>
                <a:lnTo>
                  <a:pt x="816" y="119"/>
                </a:lnTo>
                <a:lnTo>
                  <a:pt x="787" y="119"/>
                </a:lnTo>
                <a:lnTo>
                  <a:pt x="787" y="227"/>
                </a:lnTo>
                <a:close/>
                <a:moveTo>
                  <a:pt x="664" y="184"/>
                </a:moveTo>
                <a:lnTo>
                  <a:pt x="664" y="170"/>
                </a:lnTo>
                <a:lnTo>
                  <a:pt x="707" y="170"/>
                </a:lnTo>
                <a:lnTo>
                  <a:pt x="707" y="126"/>
                </a:lnTo>
                <a:lnTo>
                  <a:pt x="724" y="126"/>
                </a:lnTo>
                <a:lnTo>
                  <a:pt x="724" y="170"/>
                </a:lnTo>
                <a:lnTo>
                  <a:pt x="767" y="170"/>
                </a:lnTo>
                <a:lnTo>
                  <a:pt x="767" y="184"/>
                </a:lnTo>
                <a:lnTo>
                  <a:pt x="724" y="184"/>
                </a:lnTo>
                <a:lnTo>
                  <a:pt x="724" y="227"/>
                </a:lnTo>
                <a:lnTo>
                  <a:pt x="707" y="227"/>
                </a:lnTo>
                <a:lnTo>
                  <a:pt x="707" y="184"/>
                </a:lnTo>
                <a:lnTo>
                  <a:pt x="664" y="184"/>
                </a:lnTo>
                <a:close/>
                <a:moveTo>
                  <a:pt x="570" y="227"/>
                </a:moveTo>
                <a:lnTo>
                  <a:pt x="652" y="227"/>
                </a:lnTo>
                <a:lnTo>
                  <a:pt x="652" y="202"/>
                </a:lnTo>
                <a:lnTo>
                  <a:pt x="598" y="202"/>
                </a:lnTo>
                <a:lnTo>
                  <a:pt x="598" y="184"/>
                </a:lnTo>
                <a:lnTo>
                  <a:pt x="643" y="184"/>
                </a:lnTo>
                <a:lnTo>
                  <a:pt x="643" y="161"/>
                </a:lnTo>
                <a:lnTo>
                  <a:pt x="598" y="161"/>
                </a:lnTo>
                <a:lnTo>
                  <a:pt x="598" y="143"/>
                </a:lnTo>
                <a:lnTo>
                  <a:pt x="649" y="143"/>
                </a:lnTo>
                <a:lnTo>
                  <a:pt x="649" y="119"/>
                </a:lnTo>
                <a:lnTo>
                  <a:pt x="570" y="119"/>
                </a:lnTo>
                <a:lnTo>
                  <a:pt x="570" y="227"/>
                </a:lnTo>
                <a:close/>
                <a:moveTo>
                  <a:pt x="449" y="227"/>
                </a:moveTo>
                <a:lnTo>
                  <a:pt x="477" y="227"/>
                </a:lnTo>
                <a:lnTo>
                  <a:pt x="477" y="163"/>
                </a:lnTo>
                <a:lnTo>
                  <a:pt x="515" y="227"/>
                </a:lnTo>
                <a:lnTo>
                  <a:pt x="544" y="227"/>
                </a:lnTo>
                <a:lnTo>
                  <a:pt x="544" y="119"/>
                </a:lnTo>
                <a:lnTo>
                  <a:pt x="518" y="119"/>
                </a:lnTo>
                <a:lnTo>
                  <a:pt x="518" y="183"/>
                </a:lnTo>
                <a:lnTo>
                  <a:pt x="478" y="119"/>
                </a:lnTo>
                <a:lnTo>
                  <a:pt x="449" y="119"/>
                </a:lnTo>
                <a:lnTo>
                  <a:pt x="449" y="227"/>
                </a:lnTo>
                <a:close/>
                <a:moveTo>
                  <a:pt x="328" y="227"/>
                </a:moveTo>
                <a:lnTo>
                  <a:pt x="357" y="227"/>
                </a:lnTo>
                <a:lnTo>
                  <a:pt x="357" y="186"/>
                </a:lnTo>
                <a:lnTo>
                  <a:pt x="396" y="186"/>
                </a:lnTo>
                <a:lnTo>
                  <a:pt x="396" y="227"/>
                </a:lnTo>
                <a:lnTo>
                  <a:pt x="425" y="227"/>
                </a:lnTo>
                <a:lnTo>
                  <a:pt x="425" y="119"/>
                </a:lnTo>
                <a:lnTo>
                  <a:pt x="396" y="119"/>
                </a:lnTo>
                <a:lnTo>
                  <a:pt x="396" y="160"/>
                </a:lnTo>
                <a:lnTo>
                  <a:pt x="357" y="160"/>
                </a:lnTo>
                <a:lnTo>
                  <a:pt x="357" y="119"/>
                </a:lnTo>
                <a:lnTo>
                  <a:pt x="328" y="119"/>
                </a:lnTo>
                <a:lnTo>
                  <a:pt x="328" y="227"/>
                </a:lnTo>
                <a:close/>
                <a:moveTo>
                  <a:pt x="225" y="227"/>
                </a:moveTo>
                <a:lnTo>
                  <a:pt x="307" y="227"/>
                </a:lnTo>
                <a:lnTo>
                  <a:pt x="307" y="202"/>
                </a:lnTo>
                <a:lnTo>
                  <a:pt x="253" y="202"/>
                </a:lnTo>
                <a:lnTo>
                  <a:pt x="253" y="184"/>
                </a:lnTo>
                <a:lnTo>
                  <a:pt x="298" y="184"/>
                </a:lnTo>
                <a:lnTo>
                  <a:pt x="298" y="161"/>
                </a:lnTo>
                <a:lnTo>
                  <a:pt x="253" y="161"/>
                </a:lnTo>
                <a:lnTo>
                  <a:pt x="253" y="143"/>
                </a:lnTo>
                <a:lnTo>
                  <a:pt x="304" y="143"/>
                </a:lnTo>
                <a:lnTo>
                  <a:pt x="304" y="119"/>
                </a:lnTo>
                <a:lnTo>
                  <a:pt x="225" y="119"/>
                </a:lnTo>
                <a:lnTo>
                  <a:pt x="225" y="227"/>
                </a:lnTo>
                <a:close/>
                <a:moveTo>
                  <a:pt x="107" y="183"/>
                </a:moveTo>
                <a:lnTo>
                  <a:pt x="107" y="183"/>
                </a:lnTo>
                <a:lnTo>
                  <a:pt x="107" y="195"/>
                </a:lnTo>
                <a:lnTo>
                  <a:pt x="110" y="205"/>
                </a:lnTo>
                <a:lnTo>
                  <a:pt x="115" y="213"/>
                </a:lnTo>
                <a:lnTo>
                  <a:pt x="121" y="219"/>
                </a:lnTo>
                <a:lnTo>
                  <a:pt x="129" y="225"/>
                </a:lnTo>
                <a:lnTo>
                  <a:pt x="136" y="228"/>
                </a:lnTo>
                <a:lnTo>
                  <a:pt x="144" y="230"/>
                </a:lnTo>
                <a:lnTo>
                  <a:pt x="155" y="231"/>
                </a:lnTo>
                <a:lnTo>
                  <a:pt x="155" y="231"/>
                </a:lnTo>
                <a:lnTo>
                  <a:pt x="164" y="230"/>
                </a:lnTo>
                <a:lnTo>
                  <a:pt x="172" y="228"/>
                </a:lnTo>
                <a:lnTo>
                  <a:pt x="181" y="225"/>
                </a:lnTo>
                <a:lnTo>
                  <a:pt x="187" y="219"/>
                </a:lnTo>
                <a:lnTo>
                  <a:pt x="193" y="213"/>
                </a:lnTo>
                <a:lnTo>
                  <a:pt x="198" y="205"/>
                </a:lnTo>
                <a:lnTo>
                  <a:pt x="201" y="195"/>
                </a:lnTo>
                <a:lnTo>
                  <a:pt x="201" y="183"/>
                </a:lnTo>
                <a:lnTo>
                  <a:pt x="201" y="119"/>
                </a:lnTo>
                <a:lnTo>
                  <a:pt x="172" y="119"/>
                </a:lnTo>
                <a:lnTo>
                  <a:pt x="172" y="187"/>
                </a:lnTo>
                <a:lnTo>
                  <a:pt x="172" y="187"/>
                </a:lnTo>
                <a:lnTo>
                  <a:pt x="170" y="195"/>
                </a:lnTo>
                <a:lnTo>
                  <a:pt x="167" y="201"/>
                </a:lnTo>
                <a:lnTo>
                  <a:pt x="163" y="205"/>
                </a:lnTo>
                <a:lnTo>
                  <a:pt x="155" y="205"/>
                </a:lnTo>
                <a:lnTo>
                  <a:pt x="155" y="205"/>
                </a:lnTo>
                <a:lnTo>
                  <a:pt x="146" y="205"/>
                </a:lnTo>
                <a:lnTo>
                  <a:pt x="141" y="201"/>
                </a:lnTo>
                <a:lnTo>
                  <a:pt x="136" y="195"/>
                </a:lnTo>
                <a:lnTo>
                  <a:pt x="136" y="187"/>
                </a:lnTo>
                <a:lnTo>
                  <a:pt x="136" y="119"/>
                </a:lnTo>
                <a:lnTo>
                  <a:pt x="107" y="119"/>
                </a:lnTo>
                <a:lnTo>
                  <a:pt x="107" y="183"/>
                </a:lnTo>
                <a:close/>
                <a:moveTo>
                  <a:pt x="0" y="227"/>
                </a:moveTo>
                <a:lnTo>
                  <a:pt x="29" y="227"/>
                </a:lnTo>
                <a:lnTo>
                  <a:pt x="29" y="196"/>
                </a:lnTo>
                <a:lnTo>
                  <a:pt x="38" y="184"/>
                </a:lnTo>
                <a:lnTo>
                  <a:pt x="63" y="227"/>
                </a:lnTo>
                <a:lnTo>
                  <a:pt x="97" y="227"/>
                </a:lnTo>
                <a:lnTo>
                  <a:pt x="58" y="163"/>
                </a:lnTo>
                <a:lnTo>
                  <a:pt x="92" y="119"/>
                </a:lnTo>
                <a:lnTo>
                  <a:pt x="58" y="119"/>
                </a:lnTo>
                <a:lnTo>
                  <a:pt x="29" y="158"/>
                </a:lnTo>
                <a:lnTo>
                  <a:pt x="29" y="119"/>
                </a:lnTo>
                <a:lnTo>
                  <a:pt x="0" y="119"/>
                </a:lnTo>
                <a:lnTo>
                  <a:pt x="0" y="2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Text Placeholder 5"/>
          <p:cNvSpPr>
            <a:spLocks noGrp="1"/>
          </p:cNvSpPr>
          <p:nvPr>
            <p:ph type="body" sz="quarter" idx="12" hasCustomPrompt="1"/>
          </p:nvPr>
        </p:nvSpPr>
        <p:spPr>
          <a:xfrm>
            <a:off x="550862" y="3213716"/>
            <a:ext cx="8316914" cy="2016000"/>
          </a:xfrm>
          <a:prstGeom prst="rect">
            <a:avLst/>
          </a:prstGeom>
        </p:spPr>
        <p:txBody>
          <a:bodyPr lIns="0" anchor="t">
            <a:noAutofit/>
          </a:bodyPr>
          <a:lstStyle>
            <a:lvl1pPr marL="0" indent="0">
              <a:lnSpc>
                <a:spcPct val="100000"/>
              </a:lnSpc>
              <a:spcBef>
                <a:spcPts val="0"/>
              </a:spcBef>
              <a:spcAft>
                <a:spcPts val="1200"/>
              </a:spcAft>
              <a:buNone/>
              <a:defRPr sz="2400" b="0" baseline="0">
                <a:solidFill>
                  <a:schemeClr val="bg1"/>
                </a:solidFill>
              </a:defRPr>
            </a:lvl1pPr>
          </a:lstStyle>
          <a:p>
            <a:pPr lvl="0"/>
            <a:r>
              <a:rPr lang="en-GB" noProof="0" dirty="0"/>
              <a:t>Event information, location, name of presenter and date 24pt</a:t>
            </a:r>
          </a:p>
        </p:txBody>
      </p:sp>
      <p:sp>
        <p:nvSpPr>
          <p:cNvPr id="2" name="Titel 1">
            <a:extLst>
              <a:ext uri="{FF2B5EF4-FFF2-40B4-BE49-F238E27FC236}">
                <a16:creationId xmlns:a16="http://schemas.microsoft.com/office/drawing/2014/main" id="{40DC03DA-EB1B-40E4-8527-6F071CD56D0A}"/>
              </a:ext>
            </a:extLst>
          </p:cNvPr>
          <p:cNvSpPr>
            <a:spLocks noGrp="1"/>
          </p:cNvSpPr>
          <p:nvPr>
            <p:ph type="title" hasCustomPrompt="1"/>
          </p:nvPr>
        </p:nvSpPr>
        <p:spPr>
          <a:xfrm>
            <a:off x="550864" y="1991893"/>
            <a:ext cx="8316914" cy="1065940"/>
          </a:xfrm>
        </p:spPr>
        <p:txBody>
          <a:bodyPr/>
          <a:lstStyle>
            <a:lvl1pPr>
              <a:lnSpc>
                <a:spcPct val="100000"/>
              </a:lnSpc>
              <a:spcAft>
                <a:spcPts val="0"/>
              </a:spcAft>
              <a:defRPr lang="en-GB" sz="3600" b="1" kern="1200" baseline="0" noProof="0" dirty="0">
                <a:solidFill>
                  <a:schemeClr val="bg1"/>
                </a:solidFill>
                <a:latin typeface="+mn-lt"/>
                <a:ea typeface="+mn-ea"/>
                <a:cs typeface="+mn-cs"/>
              </a:defRPr>
            </a:lvl1pPr>
          </a:lstStyle>
          <a:p>
            <a:pPr lvl="0"/>
            <a:r>
              <a:rPr lang="en-GB" noProof="0" dirty="0"/>
              <a:t>Enter Presentation Title up to a maximum of two lines 36pt</a:t>
            </a:r>
          </a:p>
        </p:txBody>
      </p:sp>
    </p:spTree>
    <p:extLst>
      <p:ext uri="{BB962C8B-B14F-4D97-AF65-F5344CB8AC3E}">
        <p14:creationId xmlns:p14="http://schemas.microsoft.com/office/powerpoint/2010/main" val="319214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a16="http://schemas.microsoft.com/office/drawing/2014/main" xmlns="">
      <p:transition spd="med">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End_slid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rgbClr val="0033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1"/>
          </a:p>
        </p:txBody>
      </p:sp>
      <p:sp>
        <p:nvSpPr>
          <p:cNvPr id="6" name="Rectangle 5"/>
          <p:cNvSpPr/>
          <p:nvPr/>
        </p:nvSpPr>
        <p:spPr>
          <a:xfrm>
            <a:off x="555022" y="6251982"/>
            <a:ext cx="2514471" cy="246221"/>
          </a:xfrm>
          <a:prstGeom prst="rect">
            <a:avLst/>
          </a:prstGeom>
        </p:spPr>
        <p:txBody>
          <a:bodyPr wrap="none" lIns="0">
            <a:spAutoFit/>
          </a:bodyPr>
          <a:lstStyle/>
          <a:p>
            <a:r>
              <a:rPr lang="en-GB" sz="1000" noProof="0" dirty="0">
                <a:solidFill>
                  <a:schemeClr val="bg1"/>
                </a:solidFill>
              </a:rPr>
              <a:t>© 2024 Kuehne</a:t>
            </a:r>
            <a:r>
              <a:rPr lang="en-GB" sz="1000" baseline="0" noProof="0" dirty="0">
                <a:solidFill>
                  <a:schemeClr val="bg1"/>
                </a:solidFill>
              </a:rPr>
              <a:t>+Nagel.</a:t>
            </a:r>
            <a:r>
              <a:rPr lang="en-GB" sz="1000" noProof="0" dirty="0">
                <a:solidFill>
                  <a:schemeClr val="bg1"/>
                </a:solidFill>
              </a:rPr>
              <a:t> All rights reserved.</a:t>
            </a:r>
          </a:p>
        </p:txBody>
      </p:sp>
      <p:sp>
        <p:nvSpPr>
          <p:cNvPr id="8" name="Freeform 5"/>
          <p:cNvSpPr>
            <a:spLocks noEditPoints="1"/>
          </p:cNvSpPr>
          <p:nvPr/>
        </p:nvSpPr>
        <p:spPr bwMode="auto">
          <a:xfrm>
            <a:off x="6530975" y="2974975"/>
            <a:ext cx="4325938" cy="865188"/>
          </a:xfrm>
          <a:custGeom>
            <a:avLst/>
            <a:gdLst>
              <a:gd name="T0" fmla="*/ 2449 w 2725"/>
              <a:gd name="T1" fmla="*/ 160 h 545"/>
              <a:gd name="T2" fmla="*/ 2470 w 2725"/>
              <a:gd name="T3" fmla="*/ 206 h 545"/>
              <a:gd name="T4" fmla="*/ 2422 w 2725"/>
              <a:gd name="T5" fmla="*/ 186 h 545"/>
              <a:gd name="T6" fmla="*/ 2355 w 2725"/>
              <a:gd name="T7" fmla="*/ 528 h 545"/>
              <a:gd name="T8" fmla="*/ 2499 w 2725"/>
              <a:gd name="T9" fmla="*/ 540 h 545"/>
              <a:gd name="T10" fmla="*/ 2590 w 2725"/>
              <a:gd name="T11" fmla="*/ 445 h 545"/>
              <a:gd name="T12" fmla="*/ 2521 w 2725"/>
              <a:gd name="T13" fmla="*/ 306 h 545"/>
              <a:gd name="T14" fmla="*/ 2509 w 2725"/>
              <a:gd name="T15" fmla="*/ 206 h 545"/>
              <a:gd name="T16" fmla="*/ 2494 w 2725"/>
              <a:gd name="T17" fmla="*/ 143 h 545"/>
              <a:gd name="T18" fmla="*/ 2425 w 2725"/>
              <a:gd name="T19" fmla="*/ 131 h 545"/>
              <a:gd name="T20" fmla="*/ 2386 w 2725"/>
              <a:gd name="T21" fmla="*/ 186 h 545"/>
              <a:gd name="T22" fmla="*/ 2379 w 2725"/>
              <a:gd name="T23" fmla="*/ 270 h 545"/>
              <a:gd name="T24" fmla="*/ 2333 w 2725"/>
              <a:gd name="T25" fmla="*/ 464 h 545"/>
              <a:gd name="T26" fmla="*/ 2187 w 2725"/>
              <a:gd name="T27" fmla="*/ 191 h 545"/>
              <a:gd name="T28" fmla="*/ 2297 w 2725"/>
              <a:gd name="T29" fmla="*/ 48 h 545"/>
              <a:gd name="T30" fmla="*/ 2451 w 2725"/>
              <a:gd name="T31" fmla="*/ 0 h 545"/>
              <a:gd name="T32" fmla="*/ 2624 w 2725"/>
              <a:gd name="T33" fmla="*/ 62 h 545"/>
              <a:gd name="T34" fmla="*/ 2720 w 2725"/>
              <a:gd name="T35" fmla="*/ 215 h 545"/>
              <a:gd name="T36" fmla="*/ 2706 w 2725"/>
              <a:gd name="T37" fmla="*/ 366 h 545"/>
              <a:gd name="T38" fmla="*/ 2634 w 2725"/>
              <a:gd name="T39" fmla="*/ 397 h 545"/>
              <a:gd name="T40" fmla="*/ 2675 w 2725"/>
              <a:gd name="T41" fmla="*/ 270 h 545"/>
              <a:gd name="T42" fmla="*/ 2636 w 2725"/>
              <a:gd name="T43" fmla="*/ 146 h 545"/>
              <a:gd name="T44" fmla="*/ 2516 w 2725"/>
              <a:gd name="T45" fmla="*/ 57 h 545"/>
              <a:gd name="T46" fmla="*/ 2384 w 2725"/>
              <a:gd name="T47" fmla="*/ 57 h 545"/>
              <a:gd name="T48" fmla="*/ 2266 w 2725"/>
              <a:gd name="T49" fmla="*/ 146 h 545"/>
              <a:gd name="T50" fmla="*/ 2228 w 2725"/>
              <a:gd name="T51" fmla="*/ 270 h 545"/>
              <a:gd name="T52" fmla="*/ 2266 w 2725"/>
              <a:gd name="T53" fmla="*/ 397 h 545"/>
              <a:gd name="T54" fmla="*/ 2194 w 2725"/>
              <a:gd name="T55" fmla="*/ 366 h 545"/>
              <a:gd name="T56" fmla="*/ 1939 w 2725"/>
              <a:gd name="T57" fmla="*/ 186 h 545"/>
              <a:gd name="T58" fmla="*/ 1906 w 2725"/>
              <a:gd name="T59" fmla="*/ 356 h 545"/>
              <a:gd name="T60" fmla="*/ 1824 w 2725"/>
              <a:gd name="T61" fmla="*/ 225 h 545"/>
              <a:gd name="T62" fmla="*/ 1588 w 2725"/>
              <a:gd name="T63" fmla="*/ 253 h 545"/>
              <a:gd name="T64" fmla="*/ 1670 w 2725"/>
              <a:gd name="T65" fmla="*/ 182 h 545"/>
              <a:gd name="T66" fmla="*/ 1735 w 2725"/>
              <a:gd name="T67" fmla="*/ 215 h 545"/>
              <a:gd name="T68" fmla="*/ 1680 w 2725"/>
              <a:gd name="T69" fmla="*/ 220 h 545"/>
              <a:gd name="T70" fmla="*/ 1639 w 2725"/>
              <a:gd name="T71" fmla="*/ 241 h 545"/>
              <a:gd name="T72" fmla="*/ 1648 w 2725"/>
              <a:gd name="T73" fmla="*/ 316 h 545"/>
              <a:gd name="T74" fmla="*/ 1701 w 2725"/>
              <a:gd name="T75" fmla="*/ 294 h 545"/>
              <a:gd name="T76" fmla="*/ 1711 w 2725"/>
              <a:gd name="T77" fmla="*/ 356 h 545"/>
              <a:gd name="T78" fmla="*/ 1610 w 2725"/>
              <a:gd name="T79" fmla="*/ 339 h 545"/>
              <a:gd name="T80" fmla="*/ 1490 w 2725"/>
              <a:gd name="T81" fmla="*/ 232 h 545"/>
              <a:gd name="T82" fmla="*/ 1533 w 2725"/>
              <a:gd name="T83" fmla="*/ 356 h 545"/>
              <a:gd name="T84" fmla="*/ 1274 w 2725"/>
              <a:gd name="T85" fmla="*/ 256 h 545"/>
              <a:gd name="T86" fmla="*/ 1233 w 2725"/>
              <a:gd name="T87" fmla="*/ 186 h 545"/>
              <a:gd name="T88" fmla="*/ 1134 w 2725"/>
              <a:gd name="T89" fmla="*/ 268 h 545"/>
              <a:gd name="T90" fmla="*/ 1040 w 2725"/>
              <a:gd name="T91" fmla="*/ 289 h 545"/>
              <a:gd name="T92" fmla="*/ 1007 w 2725"/>
              <a:gd name="T93" fmla="*/ 253 h 545"/>
              <a:gd name="T94" fmla="*/ 704 w 2725"/>
              <a:gd name="T95" fmla="*/ 356 h 545"/>
              <a:gd name="T96" fmla="*/ 812 w 2725"/>
              <a:gd name="T97" fmla="*/ 287 h 545"/>
              <a:gd name="T98" fmla="*/ 620 w 2725"/>
              <a:gd name="T99" fmla="*/ 292 h 545"/>
              <a:gd name="T100" fmla="*/ 560 w 2725"/>
              <a:gd name="T101" fmla="*/ 186 h 545"/>
              <a:gd name="T102" fmla="*/ 396 w 2725"/>
              <a:gd name="T103" fmla="*/ 289 h 545"/>
              <a:gd name="T104" fmla="*/ 353 w 2725"/>
              <a:gd name="T105" fmla="*/ 186 h 545"/>
              <a:gd name="T106" fmla="*/ 190 w 2725"/>
              <a:gd name="T107" fmla="*/ 344 h 545"/>
              <a:gd name="T108" fmla="*/ 269 w 2725"/>
              <a:gd name="T109" fmla="*/ 359 h 545"/>
              <a:gd name="T110" fmla="*/ 315 w 2725"/>
              <a:gd name="T111" fmla="*/ 186 h 545"/>
              <a:gd name="T112" fmla="*/ 243 w 2725"/>
              <a:gd name="T113" fmla="*/ 323 h 545"/>
              <a:gd name="T114" fmla="*/ 168 w 2725"/>
              <a:gd name="T115" fmla="*/ 186 h 545"/>
              <a:gd name="T116" fmla="*/ 151 w 2725"/>
              <a:gd name="T117" fmla="*/ 356 h 545"/>
              <a:gd name="T118" fmla="*/ 0 w 2725"/>
              <a:gd name="T119" fmla="*/ 356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5" h="545">
                <a:moveTo>
                  <a:pt x="2422" y="186"/>
                </a:moveTo>
                <a:lnTo>
                  <a:pt x="2422" y="186"/>
                </a:lnTo>
                <a:lnTo>
                  <a:pt x="2425" y="177"/>
                </a:lnTo>
                <a:lnTo>
                  <a:pt x="2429" y="167"/>
                </a:lnTo>
                <a:lnTo>
                  <a:pt x="2439" y="163"/>
                </a:lnTo>
                <a:lnTo>
                  <a:pt x="2449" y="160"/>
                </a:lnTo>
                <a:lnTo>
                  <a:pt x="2449" y="160"/>
                </a:lnTo>
                <a:lnTo>
                  <a:pt x="2461" y="163"/>
                </a:lnTo>
                <a:lnTo>
                  <a:pt x="2470" y="167"/>
                </a:lnTo>
                <a:lnTo>
                  <a:pt x="2475" y="177"/>
                </a:lnTo>
                <a:lnTo>
                  <a:pt x="2477" y="186"/>
                </a:lnTo>
                <a:lnTo>
                  <a:pt x="2477" y="186"/>
                </a:lnTo>
                <a:lnTo>
                  <a:pt x="2475" y="198"/>
                </a:lnTo>
                <a:lnTo>
                  <a:pt x="2470" y="206"/>
                </a:lnTo>
                <a:lnTo>
                  <a:pt x="2461" y="213"/>
                </a:lnTo>
                <a:lnTo>
                  <a:pt x="2449" y="215"/>
                </a:lnTo>
                <a:lnTo>
                  <a:pt x="2449" y="215"/>
                </a:lnTo>
                <a:lnTo>
                  <a:pt x="2439" y="213"/>
                </a:lnTo>
                <a:lnTo>
                  <a:pt x="2429" y="206"/>
                </a:lnTo>
                <a:lnTo>
                  <a:pt x="2425" y="198"/>
                </a:lnTo>
                <a:lnTo>
                  <a:pt x="2422" y="186"/>
                </a:lnTo>
                <a:lnTo>
                  <a:pt x="2422" y="186"/>
                </a:lnTo>
                <a:close/>
                <a:moveTo>
                  <a:pt x="2273" y="480"/>
                </a:moveTo>
                <a:lnTo>
                  <a:pt x="2273" y="480"/>
                </a:lnTo>
                <a:lnTo>
                  <a:pt x="2292" y="495"/>
                </a:lnTo>
                <a:lnTo>
                  <a:pt x="2312" y="507"/>
                </a:lnTo>
                <a:lnTo>
                  <a:pt x="2333" y="519"/>
                </a:lnTo>
                <a:lnTo>
                  <a:pt x="2355" y="528"/>
                </a:lnTo>
                <a:lnTo>
                  <a:pt x="2379" y="535"/>
                </a:lnTo>
                <a:lnTo>
                  <a:pt x="2401" y="540"/>
                </a:lnTo>
                <a:lnTo>
                  <a:pt x="2425" y="543"/>
                </a:lnTo>
                <a:lnTo>
                  <a:pt x="2451" y="545"/>
                </a:lnTo>
                <a:lnTo>
                  <a:pt x="2451" y="545"/>
                </a:lnTo>
                <a:lnTo>
                  <a:pt x="2475" y="543"/>
                </a:lnTo>
                <a:lnTo>
                  <a:pt x="2499" y="540"/>
                </a:lnTo>
                <a:lnTo>
                  <a:pt x="2521" y="535"/>
                </a:lnTo>
                <a:lnTo>
                  <a:pt x="2545" y="528"/>
                </a:lnTo>
                <a:lnTo>
                  <a:pt x="2566" y="519"/>
                </a:lnTo>
                <a:lnTo>
                  <a:pt x="2588" y="507"/>
                </a:lnTo>
                <a:lnTo>
                  <a:pt x="2607" y="495"/>
                </a:lnTo>
                <a:lnTo>
                  <a:pt x="2626" y="480"/>
                </a:lnTo>
                <a:lnTo>
                  <a:pt x="2590" y="445"/>
                </a:lnTo>
                <a:lnTo>
                  <a:pt x="2590" y="445"/>
                </a:lnTo>
                <a:lnTo>
                  <a:pt x="2566" y="464"/>
                </a:lnTo>
                <a:lnTo>
                  <a:pt x="2538" y="480"/>
                </a:lnTo>
                <a:lnTo>
                  <a:pt x="2506" y="492"/>
                </a:lnTo>
                <a:lnTo>
                  <a:pt x="2475" y="497"/>
                </a:lnTo>
                <a:lnTo>
                  <a:pt x="2475" y="306"/>
                </a:lnTo>
                <a:lnTo>
                  <a:pt x="2521" y="306"/>
                </a:lnTo>
                <a:lnTo>
                  <a:pt x="2521" y="270"/>
                </a:lnTo>
                <a:lnTo>
                  <a:pt x="2475" y="270"/>
                </a:lnTo>
                <a:lnTo>
                  <a:pt x="2475" y="241"/>
                </a:lnTo>
                <a:lnTo>
                  <a:pt x="2475" y="241"/>
                </a:lnTo>
                <a:lnTo>
                  <a:pt x="2490" y="234"/>
                </a:lnTo>
                <a:lnTo>
                  <a:pt x="2502" y="222"/>
                </a:lnTo>
                <a:lnTo>
                  <a:pt x="2509" y="206"/>
                </a:lnTo>
                <a:lnTo>
                  <a:pt x="2511" y="196"/>
                </a:lnTo>
                <a:lnTo>
                  <a:pt x="2514" y="186"/>
                </a:lnTo>
                <a:lnTo>
                  <a:pt x="2514" y="186"/>
                </a:lnTo>
                <a:lnTo>
                  <a:pt x="2511" y="174"/>
                </a:lnTo>
                <a:lnTo>
                  <a:pt x="2509" y="163"/>
                </a:lnTo>
                <a:lnTo>
                  <a:pt x="2502" y="153"/>
                </a:lnTo>
                <a:lnTo>
                  <a:pt x="2494" y="143"/>
                </a:lnTo>
                <a:lnTo>
                  <a:pt x="2485" y="136"/>
                </a:lnTo>
                <a:lnTo>
                  <a:pt x="2475" y="131"/>
                </a:lnTo>
                <a:lnTo>
                  <a:pt x="2463" y="127"/>
                </a:lnTo>
                <a:lnTo>
                  <a:pt x="2451" y="127"/>
                </a:lnTo>
                <a:lnTo>
                  <a:pt x="2451" y="127"/>
                </a:lnTo>
                <a:lnTo>
                  <a:pt x="2437" y="127"/>
                </a:lnTo>
                <a:lnTo>
                  <a:pt x="2425" y="131"/>
                </a:lnTo>
                <a:lnTo>
                  <a:pt x="2415" y="136"/>
                </a:lnTo>
                <a:lnTo>
                  <a:pt x="2405" y="143"/>
                </a:lnTo>
                <a:lnTo>
                  <a:pt x="2398" y="153"/>
                </a:lnTo>
                <a:lnTo>
                  <a:pt x="2391" y="163"/>
                </a:lnTo>
                <a:lnTo>
                  <a:pt x="2389" y="174"/>
                </a:lnTo>
                <a:lnTo>
                  <a:pt x="2386" y="186"/>
                </a:lnTo>
                <a:lnTo>
                  <a:pt x="2386" y="186"/>
                </a:lnTo>
                <a:lnTo>
                  <a:pt x="2389" y="196"/>
                </a:lnTo>
                <a:lnTo>
                  <a:pt x="2391" y="206"/>
                </a:lnTo>
                <a:lnTo>
                  <a:pt x="2398" y="222"/>
                </a:lnTo>
                <a:lnTo>
                  <a:pt x="2410" y="234"/>
                </a:lnTo>
                <a:lnTo>
                  <a:pt x="2425" y="241"/>
                </a:lnTo>
                <a:lnTo>
                  <a:pt x="2425" y="270"/>
                </a:lnTo>
                <a:lnTo>
                  <a:pt x="2379" y="270"/>
                </a:lnTo>
                <a:lnTo>
                  <a:pt x="2379" y="306"/>
                </a:lnTo>
                <a:lnTo>
                  <a:pt x="2425" y="306"/>
                </a:lnTo>
                <a:lnTo>
                  <a:pt x="2425" y="497"/>
                </a:lnTo>
                <a:lnTo>
                  <a:pt x="2425" y="497"/>
                </a:lnTo>
                <a:lnTo>
                  <a:pt x="2393" y="492"/>
                </a:lnTo>
                <a:lnTo>
                  <a:pt x="2362" y="480"/>
                </a:lnTo>
                <a:lnTo>
                  <a:pt x="2333" y="464"/>
                </a:lnTo>
                <a:lnTo>
                  <a:pt x="2309" y="445"/>
                </a:lnTo>
                <a:lnTo>
                  <a:pt x="2273" y="480"/>
                </a:lnTo>
                <a:close/>
                <a:moveTo>
                  <a:pt x="2175" y="270"/>
                </a:moveTo>
                <a:lnTo>
                  <a:pt x="2175" y="270"/>
                </a:lnTo>
                <a:lnTo>
                  <a:pt x="2177" y="244"/>
                </a:lnTo>
                <a:lnTo>
                  <a:pt x="2182" y="215"/>
                </a:lnTo>
                <a:lnTo>
                  <a:pt x="2187" y="191"/>
                </a:lnTo>
                <a:lnTo>
                  <a:pt x="2196" y="165"/>
                </a:lnTo>
                <a:lnTo>
                  <a:pt x="2208" y="141"/>
                </a:lnTo>
                <a:lnTo>
                  <a:pt x="2223" y="120"/>
                </a:lnTo>
                <a:lnTo>
                  <a:pt x="2237" y="98"/>
                </a:lnTo>
                <a:lnTo>
                  <a:pt x="2256" y="79"/>
                </a:lnTo>
                <a:lnTo>
                  <a:pt x="2276" y="62"/>
                </a:lnTo>
                <a:lnTo>
                  <a:pt x="2297" y="48"/>
                </a:lnTo>
                <a:lnTo>
                  <a:pt x="2319" y="33"/>
                </a:lnTo>
                <a:lnTo>
                  <a:pt x="2343" y="22"/>
                </a:lnTo>
                <a:lnTo>
                  <a:pt x="2369" y="12"/>
                </a:lnTo>
                <a:lnTo>
                  <a:pt x="2396" y="7"/>
                </a:lnTo>
                <a:lnTo>
                  <a:pt x="2422" y="2"/>
                </a:lnTo>
                <a:lnTo>
                  <a:pt x="2451" y="0"/>
                </a:lnTo>
                <a:lnTo>
                  <a:pt x="2451" y="0"/>
                </a:lnTo>
                <a:lnTo>
                  <a:pt x="2477" y="2"/>
                </a:lnTo>
                <a:lnTo>
                  <a:pt x="2506" y="7"/>
                </a:lnTo>
                <a:lnTo>
                  <a:pt x="2530" y="12"/>
                </a:lnTo>
                <a:lnTo>
                  <a:pt x="2557" y="22"/>
                </a:lnTo>
                <a:lnTo>
                  <a:pt x="2581" y="33"/>
                </a:lnTo>
                <a:lnTo>
                  <a:pt x="2602" y="48"/>
                </a:lnTo>
                <a:lnTo>
                  <a:pt x="2624" y="62"/>
                </a:lnTo>
                <a:lnTo>
                  <a:pt x="2643" y="79"/>
                </a:lnTo>
                <a:lnTo>
                  <a:pt x="2663" y="98"/>
                </a:lnTo>
                <a:lnTo>
                  <a:pt x="2677" y="120"/>
                </a:lnTo>
                <a:lnTo>
                  <a:pt x="2691" y="141"/>
                </a:lnTo>
                <a:lnTo>
                  <a:pt x="2703" y="165"/>
                </a:lnTo>
                <a:lnTo>
                  <a:pt x="2713" y="191"/>
                </a:lnTo>
                <a:lnTo>
                  <a:pt x="2720" y="215"/>
                </a:lnTo>
                <a:lnTo>
                  <a:pt x="2723" y="244"/>
                </a:lnTo>
                <a:lnTo>
                  <a:pt x="2725" y="270"/>
                </a:lnTo>
                <a:lnTo>
                  <a:pt x="2725" y="270"/>
                </a:lnTo>
                <a:lnTo>
                  <a:pt x="2723" y="296"/>
                </a:lnTo>
                <a:lnTo>
                  <a:pt x="2720" y="320"/>
                </a:lnTo>
                <a:lnTo>
                  <a:pt x="2715" y="344"/>
                </a:lnTo>
                <a:lnTo>
                  <a:pt x="2706" y="366"/>
                </a:lnTo>
                <a:lnTo>
                  <a:pt x="2699" y="390"/>
                </a:lnTo>
                <a:lnTo>
                  <a:pt x="2687" y="409"/>
                </a:lnTo>
                <a:lnTo>
                  <a:pt x="2672" y="430"/>
                </a:lnTo>
                <a:lnTo>
                  <a:pt x="2658" y="449"/>
                </a:lnTo>
                <a:lnTo>
                  <a:pt x="2622" y="414"/>
                </a:lnTo>
                <a:lnTo>
                  <a:pt x="2622" y="414"/>
                </a:lnTo>
                <a:lnTo>
                  <a:pt x="2634" y="397"/>
                </a:lnTo>
                <a:lnTo>
                  <a:pt x="2643" y="380"/>
                </a:lnTo>
                <a:lnTo>
                  <a:pt x="2653" y="363"/>
                </a:lnTo>
                <a:lnTo>
                  <a:pt x="2660" y="347"/>
                </a:lnTo>
                <a:lnTo>
                  <a:pt x="2665" y="327"/>
                </a:lnTo>
                <a:lnTo>
                  <a:pt x="2670" y="308"/>
                </a:lnTo>
                <a:lnTo>
                  <a:pt x="2672" y="289"/>
                </a:lnTo>
                <a:lnTo>
                  <a:pt x="2675" y="270"/>
                </a:lnTo>
                <a:lnTo>
                  <a:pt x="2675" y="270"/>
                </a:lnTo>
                <a:lnTo>
                  <a:pt x="2672" y="249"/>
                </a:lnTo>
                <a:lnTo>
                  <a:pt x="2670" y="227"/>
                </a:lnTo>
                <a:lnTo>
                  <a:pt x="2663" y="206"/>
                </a:lnTo>
                <a:lnTo>
                  <a:pt x="2655" y="184"/>
                </a:lnTo>
                <a:lnTo>
                  <a:pt x="2646" y="165"/>
                </a:lnTo>
                <a:lnTo>
                  <a:pt x="2636" y="146"/>
                </a:lnTo>
                <a:lnTo>
                  <a:pt x="2622" y="129"/>
                </a:lnTo>
                <a:lnTo>
                  <a:pt x="2607" y="112"/>
                </a:lnTo>
                <a:lnTo>
                  <a:pt x="2593" y="98"/>
                </a:lnTo>
                <a:lnTo>
                  <a:pt x="2574" y="86"/>
                </a:lnTo>
                <a:lnTo>
                  <a:pt x="2557" y="74"/>
                </a:lnTo>
                <a:lnTo>
                  <a:pt x="2538" y="65"/>
                </a:lnTo>
                <a:lnTo>
                  <a:pt x="2516" y="57"/>
                </a:lnTo>
                <a:lnTo>
                  <a:pt x="2494" y="53"/>
                </a:lnTo>
                <a:lnTo>
                  <a:pt x="2473" y="48"/>
                </a:lnTo>
                <a:lnTo>
                  <a:pt x="2451" y="48"/>
                </a:lnTo>
                <a:lnTo>
                  <a:pt x="2451" y="48"/>
                </a:lnTo>
                <a:lnTo>
                  <a:pt x="2427" y="48"/>
                </a:lnTo>
                <a:lnTo>
                  <a:pt x="2405" y="53"/>
                </a:lnTo>
                <a:lnTo>
                  <a:pt x="2384" y="57"/>
                </a:lnTo>
                <a:lnTo>
                  <a:pt x="2362" y="65"/>
                </a:lnTo>
                <a:lnTo>
                  <a:pt x="2343" y="74"/>
                </a:lnTo>
                <a:lnTo>
                  <a:pt x="2326" y="86"/>
                </a:lnTo>
                <a:lnTo>
                  <a:pt x="2309" y="98"/>
                </a:lnTo>
                <a:lnTo>
                  <a:pt x="2292" y="112"/>
                </a:lnTo>
                <a:lnTo>
                  <a:pt x="2278" y="129"/>
                </a:lnTo>
                <a:lnTo>
                  <a:pt x="2266" y="146"/>
                </a:lnTo>
                <a:lnTo>
                  <a:pt x="2254" y="165"/>
                </a:lnTo>
                <a:lnTo>
                  <a:pt x="2244" y="184"/>
                </a:lnTo>
                <a:lnTo>
                  <a:pt x="2237" y="206"/>
                </a:lnTo>
                <a:lnTo>
                  <a:pt x="2230" y="227"/>
                </a:lnTo>
                <a:lnTo>
                  <a:pt x="2228" y="249"/>
                </a:lnTo>
                <a:lnTo>
                  <a:pt x="2228" y="270"/>
                </a:lnTo>
                <a:lnTo>
                  <a:pt x="2228" y="270"/>
                </a:lnTo>
                <a:lnTo>
                  <a:pt x="2228" y="289"/>
                </a:lnTo>
                <a:lnTo>
                  <a:pt x="2230" y="308"/>
                </a:lnTo>
                <a:lnTo>
                  <a:pt x="2235" y="327"/>
                </a:lnTo>
                <a:lnTo>
                  <a:pt x="2240" y="347"/>
                </a:lnTo>
                <a:lnTo>
                  <a:pt x="2247" y="363"/>
                </a:lnTo>
                <a:lnTo>
                  <a:pt x="2256" y="380"/>
                </a:lnTo>
                <a:lnTo>
                  <a:pt x="2266" y="397"/>
                </a:lnTo>
                <a:lnTo>
                  <a:pt x="2278" y="414"/>
                </a:lnTo>
                <a:lnTo>
                  <a:pt x="2242" y="449"/>
                </a:lnTo>
                <a:lnTo>
                  <a:pt x="2242" y="449"/>
                </a:lnTo>
                <a:lnTo>
                  <a:pt x="2228" y="430"/>
                </a:lnTo>
                <a:lnTo>
                  <a:pt x="2213" y="409"/>
                </a:lnTo>
                <a:lnTo>
                  <a:pt x="2204" y="390"/>
                </a:lnTo>
                <a:lnTo>
                  <a:pt x="2194" y="366"/>
                </a:lnTo>
                <a:lnTo>
                  <a:pt x="2184" y="344"/>
                </a:lnTo>
                <a:lnTo>
                  <a:pt x="2180" y="320"/>
                </a:lnTo>
                <a:lnTo>
                  <a:pt x="2177" y="296"/>
                </a:lnTo>
                <a:lnTo>
                  <a:pt x="2175" y="270"/>
                </a:lnTo>
                <a:lnTo>
                  <a:pt x="2175" y="270"/>
                </a:lnTo>
                <a:close/>
                <a:moveTo>
                  <a:pt x="1939" y="356"/>
                </a:moveTo>
                <a:lnTo>
                  <a:pt x="1939" y="186"/>
                </a:lnTo>
                <a:lnTo>
                  <a:pt x="1985" y="186"/>
                </a:lnTo>
                <a:lnTo>
                  <a:pt x="1985" y="318"/>
                </a:lnTo>
                <a:lnTo>
                  <a:pt x="2062" y="318"/>
                </a:lnTo>
                <a:lnTo>
                  <a:pt x="2062" y="356"/>
                </a:lnTo>
                <a:lnTo>
                  <a:pt x="1939" y="356"/>
                </a:lnTo>
                <a:close/>
                <a:moveTo>
                  <a:pt x="1781" y="356"/>
                </a:moveTo>
                <a:lnTo>
                  <a:pt x="1906" y="356"/>
                </a:lnTo>
                <a:lnTo>
                  <a:pt x="1906" y="318"/>
                </a:lnTo>
                <a:lnTo>
                  <a:pt x="1824" y="318"/>
                </a:lnTo>
                <a:lnTo>
                  <a:pt x="1824" y="289"/>
                </a:lnTo>
                <a:lnTo>
                  <a:pt x="1891" y="289"/>
                </a:lnTo>
                <a:lnTo>
                  <a:pt x="1891" y="253"/>
                </a:lnTo>
                <a:lnTo>
                  <a:pt x="1824" y="253"/>
                </a:lnTo>
                <a:lnTo>
                  <a:pt x="1824" y="225"/>
                </a:lnTo>
                <a:lnTo>
                  <a:pt x="1903" y="225"/>
                </a:lnTo>
                <a:lnTo>
                  <a:pt x="1903" y="186"/>
                </a:lnTo>
                <a:lnTo>
                  <a:pt x="1781" y="186"/>
                </a:lnTo>
                <a:lnTo>
                  <a:pt x="1781" y="356"/>
                </a:lnTo>
                <a:close/>
                <a:moveTo>
                  <a:pt x="1586" y="273"/>
                </a:moveTo>
                <a:lnTo>
                  <a:pt x="1586" y="273"/>
                </a:lnTo>
                <a:lnTo>
                  <a:pt x="1588" y="253"/>
                </a:lnTo>
                <a:lnTo>
                  <a:pt x="1593" y="237"/>
                </a:lnTo>
                <a:lnTo>
                  <a:pt x="1600" y="220"/>
                </a:lnTo>
                <a:lnTo>
                  <a:pt x="1610" y="208"/>
                </a:lnTo>
                <a:lnTo>
                  <a:pt x="1622" y="196"/>
                </a:lnTo>
                <a:lnTo>
                  <a:pt x="1636" y="189"/>
                </a:lnTo>
                <a:lnTo>
                  <a:pt x="1651" y="184"/>
                </a:lnTo>
                <a:lnTo>
                  <a:pt x="1670" y="182"/>
                </a:lnTo>
                <a:lnTo>
                  <a:pt x="1670" y="182"/>
                </a:lnTo>
                <a:lnTo>
                  <a:pt x="1685" y="184"/>
                </a:lnTo>
                <a:lnTo>
                  <a:pt x="1697" y="186"/>
                </a:lnTo>
                <a:lnTo>
                  <a:pt x="1709" y="191"/>
                </a:lnTo>
                <a:lnTo>
                  <a:pt x="1718" y="196"/>
                </a:lnTo>
                <a:lnTo>
                  <a:pt x="1728" y="206"/>
                </a:lnTo>
                <a:lnTo>
                  <a:pt x="1735" y="215"/>
                </a:lnTo>
                <a:lnTo>
                  <a:pt x="1742" y="227"/>
                </a:lnTo>
                <a:lnTo>
                  <a:pt x="1745" y="241"/>
                </a:lnTo>
                <a:lnTo>
                  <a:pt x="1699" y="241"/>
                </a:lnTo>
                <a:lnTo>
                  <a:pt x="1699" y="241"/>
                </a:lnTo>
                <a:lnTo>
                  <a:pt x="1694" y="229"/>
                </a:lnTo>
                <a:lnTo>
                  <a:pt x="1689" y="225"/>
                </a:lnTo>
                <a:lnTo>
                  <a:pt x="1680" y="220"/>
                </a:lnTo>
                <a:lnTo>
                  <a:pt x="1670" y="220"/>
                </a:lnTo>
                <a:lnTo>
                  <a:pt x="1670" y="220"/>
                </a:lnTo>
                <a:lnTo>
                  <a:pt x="1663" y="220"/>
                </a:lnTo>
                <a:lnTo>
                  <a:pt x="1653" y="225"/>
                </a:lnTo>
                <a:lnTo>
                  <a:pt x="1648" y="229"/>
                </a:lnTo>
                <a:lnTo>
                  <a:pt x="1641" y="234"/>
                </a:lnTo>
                <a:lnTo>
                  <a:pt x="1639" y="241"/>
                </a:lnTo>
                <a:lnTo>
                  <a:pt x="1634" y="251"/>
                </a:lnTo>
                <a:lnTo>
                  <a:pt x="1632" y="273"/>
                </a:lnTo>
                <a:lnTo>
                  <a:pt x="1632" y="273"/>
                </a:lnTo>
                <a:lnTo>
                  <a:pt x="1634" y="294"/>
                </a:lnTo>
                <a:lnTo>
                  <a:pt x="1639" y="301"/>
                </a:lnTo>
                <a:lnTo>
                  <a:pt x="1644" y="311"/>
                </a:lnTo>
                <a:lnTo>
                  <a:pt x="1648" y="316"/>
                </a:lnTo>
                <a:lnTo>
                  <a:pt x="1656" y="320"/>
                </a:lnTo>
                <a:lnTo>
                  <a:pt x="1663" y="325"/>
                </a:lnTo>
                <a:lnTo>
                  <a:pt x="1672" y="325"/>
                </a:lnTo>
                <a:lnTo>
                  <a:pt x="1672" y="325"/>
                </a:lnTo>
                <a:lnTo>
                  <a:pt x="1689" y="323"/>
                </a:lnTo>
                <a:lnTo>
                  <a:pt x="1701" y="318"/>
                </a:lnTo>
                <a:lnTo>
                  <a:pt x="1701" y="294"/>
                </a:lnTo>
                <a:lnTo>
                  <a:pt x="1672" y="294"/>
                </a:lnTo>
                <a:lnTo>
                  <a:pt x="1672" y="263"/>
                </a:lnTo>
                <a:lnTo>
                  <a:pt x="1745" y="263"/>
                </a:lnTo>
                <a:lnTo>
                  <a:pt x="1745" y="337"/>
                </a:lnTo>
                <a:lnTo>
                  <a:pt x="1745" y="337"/>
                </a:lnTo>
                <a:lnTo>
                  <a:pt x="1728" y="349"/>
                </a:lnTo>
                <a:lnTo>
                  <a:pt x="1711" y="356"/>
                </a:lnTo>
                <a:lnTo>
                  <a:pt x="1692" y="361"/>
                </a:lnTo>
                <a:lnTo>
                  <a:pt x="1677" y="363"/>
                </a:lnTo>
                <a:lnTo>
                  <a:pt x="1677" y="363"/>
                </a:lnTo>
                <a:lnTo>
                  <a:pt x="1656" y="361"/>
                </a:lnTo>
                <a:lnTo>
                  <a:pt x="1639" y="356"/>
                </a:lnTo>
                <a:lnTo>
                  <a:pt x="1622" y="349"/>
                </a:lnTo>
                <a:lnTo>
                  <a:pt x="1610" y="339"/>
                </a:lnTo>
                <a:lnTo>
                  <a:pt x="1600" y="325"/>
                </a:lnTo>
                <a:lnTo>
                  <a:pt x="1593" y="311"/>
                </a:lnTo>
                <a:lnTo>
                  <a:pt x="1588" y="292"/>
                </a:lnTo>
                <a:lnTo>
                  <a:pt x="1586" y="273"/>
                </a:lnTo>
                <a:lnTo>
                  <a:pt x="1586" y="273"/>
                </a:lnTo>
                <a:close/>
                <a:moveTo>
                  <a:pt x="1468" y="296"/>
                </a:moveTo>
                <a:lnTo>
                  <a:pt x="1490" y="232"/>
                </a:lnTo>
                <a:lnTo>
                  <a:pt x="1511" y="296"/>
                </a:lnTo>
                <a:lnTo>
                  <a:pt x="1468" y="296"/>
                </a:lnTo>
                <a:close/>
                <a:moveTo>
                  <a:pt x="1401" y="356"/>
                </a:moveTo>
                <a:lnTo>
                  <a:pt x="1449" y="356"/>
                </a:lnTo>
                <a:lnTo>
                  <a:pt x="1456" y="330"/>
                </a:lnTo>
                <a:lnTo>
                  <a:pt x="1524" y="330"/>
                </a:lnTo>
                <a:lnTo>
                  <a:pt x="1533" y="356"/>
                </a:lnTo>
                <a:lnTo>
                  <a:pt x="1579" y="356"/>
                </a:lnTo>
                <a:lnTo>
                  <a:pt x="1514" y="186"/>
                </a:lnTo>
                <a:lnTo>
                  <a:pt x="1466" y="186"/>
                </a:lnTo>
                <a:lnTo>
                  <a:pt x="1401" y="356"/>
                </a:lnTo>
                <a:close/>
                <a:moveTo>
                  <a:pt x="1233" y="356"/>
                </a:moveTo>
                <a:lnTo>
                  <a:pt x="1274" y="356"/>
                </a:lnTo>
                <a:lnTo>
                  <a:pt x="1274" y="256"/>
                </a:lnTo>
                <a:lnTo>
                  <a:pt x="1334" y="356"/>
                </a:lnTo>
                <a:lnTo>
                  <a:pt x="1382" y="356"/>
                </a:lnTo>
                <a:lnTo>
                  <a:pt x="1382" y="186"/>
                </a:lnTo>
                <a:lnTo>
                  <a:pt x="1338" y="186"/>
                </a:lnTo>
                <a:lnTo>
                  <a:pt x="1338" y="287"/>
                </a:lnTo>
                <a:lnTo>
                  <a:pt x="1278" y="186"/>
                </a:lnTo>
                <a:lnTo>
                  <a:pt x="1233" y="186"/>
                </a:lnTo>
                <a:lnTo>
                  <a:pt x="1233" y="356"/>
                </a:lnTo>
                <a:close/>
                <a:moveTo>
                  <a:pt x="1040" y="289"/>
                </a:moveTo>
                <a:lnTo>
                  <a:pt x="1040" y="268"/>
                </a:lnTo>
                <a:lnTo>
                  <a:pt x="1108" y="268"/>
                </a:lnTo>
                <a:lnTo>
                  <a:pt x="1108" y="198"/>
                </a:lnTo>
                <a:lnTo>
                  <a:pt x="1134" y="198"/>
                </a:lnTo>
                <a:lnTo>
                  <a:pt x="1134" y="268"/>
                </a:lnTo>
                <a:lnTo>
                  <a:pt x="1201" y="268"/>
                </a:lnTo>
                <a:lnTo>
                  <a:pt x="1201" y="289"/>
                </a:lnTo>
                <a:lnTo>
                  <a:pt x="1134" y="289"/>
                </a:lnTo>
                <a:lnTo>
                  <a:pt x="1134" y="356"/>
                </a:lnTo>
                <a:lnTo>
                  <a:pt x="1108" y="356"/>
                </a:lnTo>
                <a:lnTo>
                  <a:pt x="1108" y="289"/>
                </a:lnTo>
                <a:lnTo>
                  <a:pt x="1040" y="289"/>
                </a:lnTo>
                <a:close/>
                <a:moveTo>
                  <a:pt x="894" y="356"/>
                </a:moveTo>
                <a:lnTo>
                  <a:pt x="1021" y="356"/>
                </a:lnTo>
                <a:lnTo>
                  <a:pt x="1021" y="318"/>
                </a:lnTo>
                <a:lnTo>
                  <a:pt x="937" y="318"/>
                </a:lnTo>
                <a:lnTo>
                  <a:pt x="937" y="289"/>
                </a:lnTo>
                <a:lnTo>
                  <a:pt x="1007" y="289"/>
                </a:lnTo>
                <a:lnTo>
                  <a:pt x="1007" y="253"/>
                </a:lnTo>
                <a:lnTo>
                  <a:pt x="937" y="253"/>
                </a:lnTo>
                <a:lnTo>
                  <a:pt x="937" y="225"/>
                </a:lnTo>
                <a:lnTo>
                  <a:pt x="1016" y="225"/>
                </a:lnTo>
                <a:lnTo>
                  <a:pt x="1016" y="186"/>
                </a:lnTo>
                <a:lnTo>
                  <a:pt x="894" y="186"/>
                </a:lnTo>
                <a:lnTo>
                  <a:pt x="894" y="356"/>
                </a:lnTo>
                <a:close/>
                <a:moveTo>
                  <a:pt x="704" y="356"/>
                </a:moveTo>
                <a:lnTo>
                  <a:pt x="747" y="356"/>
                </a:lnTo>
                <a:lnTo>
                  <a:pt x="747" y="256"/>
                </a:lnTo>
                <a:lnTo>
                  <a:pt x="807" y="356"/>
                </a:lnTo>
                <a:lnTo>
                  <a:pt x="853" y="356"/>
                </a:lnTo>
                <a:lnTo>
                  <a:pt x="853" y="186"/>
                </a:lnTo>
                <a:lnTo>
                  <a:pt x="812" y="186"/>
                </a:lnTo>
                <a:lnTo>
                  <a:pt x="812" y="287"/>
                </a:lnTo>
                <a:lnTo>
                  <a:pt x="750" y="186"/>
                </a:lnTo>
                <a:lnTo>
                  <a:pt x="704" y="186"/>
                </a:lnTo>
                <a:lnTo>
                  <a:pt x="704" y="356"/>
                </a:lnTo>
                <a:close/>
                <a:moveTo>
                  <a:pt x="514" y="356"/>
                </a:moveTo>
                <a:lnTo>
                  <a:pt x="560" y="356"/>
                </a:lnTo>
                <a:lnTo>
                  <a:pt x="560" y="292"/>
                </a:lnTo>
                <a:lnTo>
                  <a:pt x="620" y="292"/>
                </a:lnTo>
                <a:lnTo>
                  <a:pt x="620" y="356"/>
                </a:lnTo>
                <a:lnTo>
                  <a:pt x="666" y="356"/>
                </a:lnTo>
                <a:lnTo>
                  <a:pt x="666" y="186"/>
                </a:lnTo>
                <a:lnTo>
                  <a:pt x="620" y="186"/>
                </a:lnTo>
                <a:lnTo>
                  <a:pt x="620" y="251"/>
                </a:lnTo>
                <a:lnTo>
                  <a:pt x="560" y="251"/>
                </a:lnTo>
                <a:lnTo>
                  <a:pt x="560" y="186"/>
                </a:lnTo>
                <a:lnTo>
                  <a:pt x="514" y="186"/>
                </a:lnTo>
                <a:lnTo>
                  <a:pt x="514" y="356"/>
                </a:lnTo>
                <a:close/>
                <a:moveTo>
                  <a:pt x="353" y="356"/>
                </a:moveTo>
                <a:lnTo>
                  <a:pt x="481" y="356"/>
                </a:lnTo>
                <a:lnTo>
                  <a:pt x="481" y="318"/>
                </a:lnTo>
                <a:lnTo>
                  <a:pt x="396" y="318"/>
                </a:lnTo>
                <a:lnTo>
                  <a:pt x="396" y="289"/>
                </a:lnTo>
                <a:lnTo>
                  <a:pt x="466" y="289"/>
                </a:lnTo>
                <a:lnTo>
                  <a:pt x="466" y="253"/>
                </a:lnTo>
                <a:lnTo>
                  <a:pt x="396" y="253"/>
                </a:lnTo>
                <a:lnTo>
                  <a:pt x="396" y="225"/>
                </a:lnTo>
                <a:lnTo>
                  <a:pt x="476" y="225"/>
                </a:lnTo>
                <a:lnTo>
                  <a:pt x="476" y="186"/>
                </a:lnTo>
                <a:lnTo>
                  <a:pt x="353" y="186"/>
                </a:lnTo>
                <a:lnTo>
                  <a:pt x="353" y="356"/>
                </a:lnTo>
                <a:close/>
                <a:moveTo>
                  <a:pt x="168" y="287"/>
                </a:moveTo>
                <a:lnTo>
                  <a:pt x="168" y="287"/>
                </a:lnTo>
                <a:lnTo>
                  <a:pt x="168" y="306"/>
                </a:lnTo>
                <a:lnTo>
                  <a:pt x="173" y="323"/>
                </a:lnTo>
                <a:lnTo>
                  <a:pt x="180" y="335"/>
                </a:lnTo>
                <a:lnTo>
                  <a:pt x="190" y="344"/>
                </a:lnTo>
                <a:lnTo>
                  <a:pt x="202" y="354"/>
                </a:lnTo>
                <a:lnTo>
                  <a:pt x="214" y="359"/>
                </a:lnTo>
                <a:lnTo>
                  <a:pt x="226" y="361"/>
                </a:lnTo>
                <a:lnTo>
                  <a:pt x="243" y="363"/>
                </a:lnTo>
                <a:lnTo>
                  <a:pt x="243" y="363"/>
                </a:lnTo>
                <a:lnTo>
                  <a:pt x="257" y="361"/>
                </a:lnTo>
                <a:lnTo>
                  <a:pt x="269" y="359"/>
                </a:lnTo>
                <a:lnTo>
                  <a:pt x="284" y="354"/>
                </a:lnTo>
                <a:lnTo>
                  <a:pt x="293" y="344"/>
                </a:lnTo>
                <a:lnTo>
                  <a:pt x="303" y="335"/>
                </a:lnTo>
                <a:lnTo>
                  <a:pt x="310" y="323"/>
                </a:lnTo>
                <a:lnTo>
                  <a:pt x="315" y="306"/>
                </a:lnTo>
                <a:lnTo>
                  <a:pt x="315" y="287"/>
                </a:lnTo>
                <a:lnTo>
                  <a:pt x="315" y="186"/>
                </a:lnTo>
                <a:lnTo>
                  <a:pt x="269" y="186"/>
                </a:lnTo>
                <a:lnTo>
                  <a:pt x="269" y="294"/>
                </a:lnTo>
                <a:lnTo>
                  <a:pt x="269" y="294"/>
                </a:lnTo>
                <a:lnTo>
                  <a:pt x="267" y="306"/>
                </a:lnTo>
                <a:lnTo>
                  <a:pt x="262" y="316"/>
                </a:lnTo>
                <a:lnTo>
                  <a:pt x="255" y="323"/>
                </a:lnTo>
                <a:lnTo>
                  <a:pt x="243" y="323"/>
                </a:lnTo>
                <a:lnTo>
                  <a:pt x="243" y="323"/>
                </a:lnTo>
                <a:lnTo>
                  <a:pt x="228" y="323"/>
                </a:lnTo>
                <a:lnTo>
                  <a:pt x="221" y="316"/>
                </a:lnTo>
                <a:lnTo>
                  <a:pt x="214" y="306"/>
                </a:lnTo>
                <a:lnTo>
                  <a:pt x="214" y="294"/>
                </a:lnTo>
                <a:lnTo>
                  <a:pt x="214" y="186"/>
                </a:lnTo>
                <a:lnTo>
                  <a:pt x="168" y="186"/>
                </a:lnTo>
                <a:lnTo>
                  <a:pt x="168" y="287"/>
                </a:lnTo>
                <a:close/>
                <a:moveTo>
                  <a:pt x="0" y="356"/>
                </a:moveTo>
                <a:lnTo>
                  <a:pt x="46" y="356"/>
                </a:lnTo>
                <a:lnTo>
                  <a:pt x="46" y="308"/>
                </a:lnTo>
                <a:lnTo>
                  <a:pt x="60" y="289"/>
                </a:lnTo>
                <a:lnTo>
                  <a:pt x="99" y="356"/>
                </a:lnTo>
                <a:lnTo>
                  <a:pt x="151" y="356"/>
                </a:lnTo>
                <a:lnTo>
                  <a:pt x="91" y="256"/>
                </a:lnTo>
                <a:lnTo>
                  <a:pt x="144" y="186"/>
                </a:lnTo>
                <a:lnTo>
                  <a:pt x="91" y="186"/>
                </a:lnTo>
                <a:lnTo>
                  <a:pt x="46" y="249"/>
                </a:lnTo>
                <a:lnTo>
                  <a:pt x="46" y="186"/>
                </a:lnTo>
                <a:lnTo>
                  <a:pt x="0" y="186"/>
                </a:lnTo>
                <a:lnTo>
                  <a:pt x="0"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extfeld 1">
            <a:extLst>
              <a:ext uri="{FF2B5EF4-FFF2-40B4-BE49-F238E27FC236}">
                <a16:creationId xmlns:a16="http://schemas.microsoft.com/office/drawing/2014/main" id="{4F52375E-B56B-469F-8222-E43636937DC3}"/>
              </a:ext>
            </a:extLst>
          </p:cNvPr>
          <p:cNvSpPr txBox="1">
            <a:spLocks/>
          </p:cNvSpPr>
          <p:nvPr/>
        </p:nvSpPr>
        <p:spPr>
          <a:xfrm>
            <a:off x="1341438" y="3145959"/>
            <a:ext cx="4313238" cy="523220"/>
          </a:xfrm>
          <a:prstGeom prst="rect">
            <a:avLst/>
          </a:prstGeom>
          <a:noFill/>
        </p:spPr>
        <p:txBody>
          <a:bodyPr wrap="square" lIns="0" rtlCol="0">
            <a:spAutoFit/>
          </a:bodyPr>
          <a:lstStyle/>
          <a:p>
            <a:r>
              <a:rPr lang="de-DE" sz="2800" dirty="0">
                <a:solidFill>
                  <a:schemeClr val="bg1"/>
                </a:solidFill>
              </a:rPr>
              <a:t>Inspire. Empower. Deliver.</a:t>
            </a:r>
          </a:p>
        </p:txBody>
      </p:sp>
    </p:spTree>
    <p:extLst>
      <p:ext uri="{BB962C8B-B14F-4D97-AF65-F5344CB8AC3E}">
        <p14:creationId xmlns:p14="http://schemas.microsoft.com/office/powerpoint/2010/main" val="351641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ngle_headline">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pPr lvl="0"/>
            <a:r>
              <a:rPr lang="en-US" noProof="0"/>
              <a:t>Click to edit Master title style</a:t>
            </a:r>
            <a:endParaRPr lang="de-DE" dirty="0"/>
          </a:p>
        </p:txBody>
      </p:sp>
      <p:sp>
        <p:nvSpPr>
          <p:cNvPr id="2" name="Slide Number Placeholder 3">
            <a:extLst>
              <a:ext uri="{FF2B5EF4-FFF2-40B4-BE49-F238E27FC236}">
                <a16:creationId xmlns:a16="http://schemas.microsoft.com/office/drawing/2014/main" id="{AB6BA7F6-17F3-2B6E-81BE-6F2967601D4E}"/>
              </a:ext>
            </a:extLst>
          </p:cNvPr>
          <p:cNvSpPr>
            <a:spLocks noGrp="1"/>
          </p:cNvSpPr>
          <p:nvPr>
            <p:ph type="sldNum" sz="quarter" idx="10"/>
          </p:nvPr>
        </p:nvSpPr>
        <p:spPr/>
        <p:txBody>
          <a:bodyPr/>
          <a:lstStyle>
            <a:lvl1pPr algn="r">
              <a:defRPr sz="1000">
                <a:solidFill>
                  <a:srgbClr val="000000"/>
                </a:solidFill>
              </a:defRPr>
            </a:lvl1pPr>
          </a:lstStyle>
          <a:p>
            <a:pPr>
              <a:defRPr/>
            </a:pPr>
            <a:fld id="{8516A5F2-F29D-4328-9DFD-6CA552BF5A5A}" type="slidenum">
              <a:rPr lang="en-GB"/>
              <a:pPr>
                <a:defRPr/>
              </a:pPr>
              <a:t>‹#›</a:t>
            </a:fld>
            <a:endParaRPr lang="en-GB" dirty="0"/>
          </a:p>
        </p:txBody>
      </p:sp>
    </p:spTree>
    <p:extLst>
      <p:ext uri="{BB962C8B-B14F-4D97-AF65-F5344CB8AC3E}">
        <p14:creationId xmlns:p14="http://schemas.microsoft.com/office/powerpoint/2010/main" val="653020729"/>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_headline_blue_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758BD11-CBF5-F1B8-FBF6-34D76CFCE74F}"/>
              </a:ext>
            </a:extLst>
          </p:cNvPr>
          <p:cNvSpPr/>
          <p:nvPr userDrawn="1"/>
        </p:nvSpPr>
        <p:spPr>
          <a:xfrm>
            <a:off x="0" y="1630363"/>
            <a:ext cx="12192000" cy="52212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10" name="Titel 4"/>
          <p:cNvSpPr>
            <a:spLocks noGrp="1"/>
          </p:cNvSpPr>
          <p:nvPr>
            <p:ph type="title"/>
          </p:nvPr>
        </p:nvSpPr>
        <p:spPr>
          <a:xfrm>
            <a:off x="553321" y="550779"/>
            <a:ext cx="8314454" cy="864136"/>
          </a:xfrm>
        </p:spPr>
        <p:txBody>
          <a:bodyPr/>
          <a:lstStyle/>
          <a:p>
            <a:pPr lvl="0"/>
            <a:r>
              <a:rPr lang="en-US" noProof="0"/>
              <a:t>Click to edit Master title style</a:t>
            </a:r>
            <a:endParaRPr lang="de-DE" dirty="0"/>
          </a:p>
        </p:txBody>
      </p:sp>
      <p:sp>
        <p:nvSpPr>
          <p:cNvPr id="3" name="Slide Number Placeholder 3">
            <a:extLst>
              <a:ext uri="{FF2B5EF4-FFF2-40B4-BE49-F238E27FC236}">
                <a16:creationId xmlns:a16="http://schemas.microsoft.com/office/drawing/2014/main" id="{F49BC22F-15D1-4913-E093-466F329C91CF}"/>
              </a:ext>
            </a:extLst>
          </p:cNvPr>
          <p:cNvSpPr>
            <a:spLocks noGrp="1"/>
          </p:cNvSpPr>
          <p:nvPr>
            <p:ph type="sldNum" sz="quarter" idx="10"/>
          </p:nvPr>
        </p:nvSpPr>
        <p:spPr/>
        <p:txBody>
          <a:bodyPr/>
          <a:lstStyle>
            <a:lvl1pPr algn="r">
              <a:defRPr sz="1000">
                <a:solidFill>
                  <a:schemeClr val="bg1"/>
                </a:solidFill>
              </a:defRPr>
            </a:lvl1pPr>
          </a:lstStyle>
          <a:p>
            <a:pPr>
              <a:defRPr/>
            </a:pPr>
            <a:fld id="{A257FE2E-E550-41F6-A921-031F8644EB2A}" type="slidenum">
              <a:rPr lang="en-GB"/>
              <a:pPr>
                <a:defRPr/>
              </a:pPr>
              <a:t>‹#›</a:t>
            </a:fld>
            <a:endParaRPr lang="en-GB" dirty="0"/>
          </a:p>
        </p:txBody>
      </p:sp>
    </p:spTree>
    <p:extLst>
      <p:ext uri="{BB962C8B-B14F-4D97-AF65-F5344CB8AC3E}">
        <p14:creationId xmlns:p14="http://schemas.microsoft.com/office/powerpoint/2010/main" val="1224412411"/>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ingle_headline_grey_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B31012-F15B-6C35-964B-CB6CAFE00EC5}"/>
              </a:ext>
            </a:extLst>
          </p:cNvPr>
          <p:cNvSpPr/>
          <p:nvPr/>
        </p:nvSpPr>
        <p:spPr>
          <a:xfrm>
            <a:off x="0" y="1630363"/>
            <a:ext cx="12192000" cy="5221287"/>
          </a:xfrm>
          <a:prstGeom prst="rect">
            <a:avLst/>
          </a:prstGeom>
          <a:solidFill>
            <a:srgbClr val="F6F5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x-none" sz="1351"/>
          </a:p>
        </p:txBody>
      </p:sp>
      <p:sp>
        <p:nvSpPr>
          <p:cNvPr id="8" name="Titel 4"/>
          <p:cNvSpPr>
            <a:spLocks noGrp="1"/>
          </p:cNvSpPr>
          <p:nvPr>
            <p:ph type="title"/>
          </p:nvPr>
        </p:nvSpPr>
        <p:spPr>
          <a:xfrm>
            <a:off x="553321" y="550779"/>
            <a:ext cx="8314454" cy="864136"/>
          </a:xfrm>
        </p:spPr>
        <p:txBody>
          <a:bodyPr/>
          <a:lstStyle/>
          <a:p>
            <a:pPr lvl="0"/>
            <a:r>
              <a:rPr lang="en-US" noProof="0"/>
              <a:t>Click to edit Master title style</a:t>
            </a:r>
            <a:endParaRPr lang="de-DE" dirty="0"/>
          </a:p>
        </p:txBody>
      </p:sp>
      <p:sp>
        <p:nvSpPr>
          <p:cNvPr id="3" name="Slide Number Placeholder 3">
            <a:extLst>
              <a:ext uri="{FF2B5EF4-FFF2-40B4-BE49-F238E27FC236}">
                <a16:creationId xmlns:a16="http://schemas.microsoft.com/office/drawing/2014/main" id="{962DD3DF-0043-F6FB-FE26-6E062D693A34}"/>
              </a:ext>
            </a:extLst>
          </p:cNvPr>
          <p:cNvSpPr>
            <a:spLocks noGrp="1"/>
          </p:cNvSpPr>
          <p:nvPr>
            <p:ph type="sldNum" sz="quarter" idx="10"/>
          </p:nvPr>
        </p:nvSpPr>
        <p:spPr/>
        <p:txBody>
          <a:bodyPr/>
          <a:lstStyle>
            <a:lvl1pPr algn="r">
              <a:defRPr sz="1000">
                <a:solidFill>
                  <a:srgbClr val="000000"/>
                </a:solidFill>
              </a:defRPr>
            </a:lvl1pPr>
          </a:lstStyle>
          <a:p>
            <a:pPr>
              <a:defRPr/>
            </a:pPr>
            <a:fld id="{8F88756B-444D-486A-965D-74567F7C407F}" type="slidenum">
              <a:rPr lang="en-GB"/>
              <a:pPr>
                <a:defRPr/>
              </a:pPr>
              <a:t>‹#›</a:t>
            </a:fld>
            <a:endParaRPr lang="en-GB" dirty="0"/>
          </a:p>
        </p:txBody>
      </p:sp>
    </p:spTree>
    <p:extLst>
      <p:ext uri="{BB962C8B-B14F-4D97-AF65-F5344CB8AC3E}">
        <p14:creationId xmlns:p14="http://schemas.microsoft.com/office/powerpoint/2010/main" val="3558973392"/>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elplatzhalter 1">
            <a:extLst>
              <a:ext uri="{FF2B5EF4-FFF2-40B4-BE49-F238E27FC236}">
                <a16:creationId xmlns:a16="http://schemas.microsoft.com/office/drawing/2014/main" id="{E9D4E88C-7B67-E9CE-414D-7EAC10F90C86}"/>
              </a:ext>
            </a:extLst>
          </p:cNvPr>
          <p:cNvSpPr>
            <a:spLocks noGrp="1" noChangeArrowheads="1"/>
          </p:cNvSpPr>
          <p:nvPr>
            <p:ph type="title"/>
          </p:nvPr>
        </p:nvSpPr>
        <p:spPr bwMode="auto">
          <a:xfrm>
            <a:off x="554038" y="550863"/>
            <a:ext cx="83137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nter slide title 24pt [do not stretch over logo]</a:t>
            </a:r>
          </a:p>
        </p:txBody>
      </p:sp>
      <p:sp>
        <p:nvSpPr>
          <p:cNvPr id="6" name="Foliennummernplatzhalter 5">
            <a:extLst>
              <a:ext uri="{FF2B5EF4-FFF2-40B4-BE49-F238E27FC236}">
                <a16:creationId xmlns:a16="http://schemas.microsoft.com/office/drawing/2014/main" id="{FA3344B8-CF5E-BB73-391C-330A1634505F}"/>
              </a:ext>
            </a:extLst>
          </p:cNvPr>
          <p:cNvSpPr>
            <a:spLocks noGrp="1"/>
          </p:cNvSpPr>
          <p:nvPr>
            <p:ph type="sldNum" sz="quarter" idx="4"/>
          </p:nvPr>
        </p:nvSpPr>
        <p:spPr>
          <a:xfrm>
            <a:off x="9574213" y="6308725"/>
            <a:ext cx="2057400" cy="274638"/>
          </a:xfrm>
          <a:prstGeom prst="rect">
            <a:avLst/>
          </a:prstGeom>
        </p:spPr>
        <p:txBody>
          <a:bodyPr vert="horz" lIns="0" tIns="0" rIns="0" bIns="0" rtlCol="0" anchor="ctr"/>
          <a:lstStyle>
            <a:lvl1pPr algn="r" defTabSz="914377" eaLnBrk="1" fontAlgn="auto" hangingPunct="1">
              <a:spcBef>
                <a:spcPts val="0"/>
              </a:spcBef>
              <a:spcAft>
                <a:spcPts val="0"/>
              </a:spcAft>
              <a:defRPr sz="1000">
                <a:solidFill>
                  <a:schemeClr val="tx2"/>
                </a:solidFill>
                <a:latin typeface="+mn-lt"/>
              </a:defRPr>
            </a:lvl1pPr>
          </a:lstStyle>
          <a:p>
            <a:pPr>
              <a:defRPr/>
            </a:pPr>
            <a:fld id="{C891579D-CFF3-4E36-97C1-608BBB36A5A1}" type="slidenum">
              <a:rPr lang="de-DE"/>
              <a:pPr>
                <a:defRPr/>
              </a:pPr>
              <a:t>‹#›</a:t>
            </a:fld>
            <a:endParaRPr lang="de-DE" dirty="0"/>
          </a:p>
        </p:txBody>
      </p:sp>
      <p:sp>
        <p:nvSpPr>
          <p:cNvPr id="1028" name="Freeform 5">
            <a:extLst>
              <a:ext uri="{FF2B5EF4-FFF2-40B4-BE49-F238E27FC236}">
                <a16:creationId xmlns:a16="http://schemas.microsoft.com/office/drawing/2014/main" id="{804BFA7A-956F-D785-3746-D7849E53F82D}"/>
              </a:ext>
            </a:extLst>
          </p:cNvPr>
          <p:cNvSpPr>
            <a:spLocks noEditPoints="1"/>
          </p:cNvSpPr>
          <p:nvPr userDrawn="1"/>
        </p:nvSpPr>
        <p:spPr bwMode="auto">
          <a:xfrm>
            <a:off x="9721850" y="563563"/>
            <a:ext cx="1908175" cy="377825"/>
          </a:xfrm>
          <a:custGeom>
            <a:avLst/>
            <a:gdLst>
              <a:gd name="T0" fmla="*/ 1715234 w 3494"/>
              <a:gd name="T1" fmla="*/ 110700 h 700"/>
              <a:gd name="T2" fmla="*/ 1734347 w 3494"/>
              <a:gd name="T3" fmla="*/ 129060 h 700"/>
              <a:gd name="T4" fmla="*/ 1711412 w 3494"/>
              <a:gd name="T5" fmla="*/ 147960 h 700"/>
              <a:gd name="T6" fmla="*/ 1592366 w 3494"/>
              <a:gd name="T7" fmla="*/ 333180 h 700"/>
              <a:gd name="T8" fmla="*/ 1664995 w 3494"/>
              <a:gd name="T9" fmla="*/ 370980 h 700"/>
              <a:gd name="T10" fmla="*/ 1740900 w 3494"/>
              <a:gd name="T11" fmla="*/ 376380 h 700"/>
              <a:gd name="T12" fmla="*/ 1818989 w 3494"/>
              <a:gd name="T13" fmla="*/ 347760 h 700"/>
              <a:gd name="T14" fmla="*/ 1766566 w 3494"/>
              <a:gd name="T15" fmla="*/ 337500 h 700"/>
              <a:gd name="T16" fmla="*/ 1738716 w 3494"/>
              <a:gd name="T17" fmla="*/ 165240 h 700"/>
              <a:gd name="T18" fmla="*/ 1758374 w 3494"/>
              <a:gd name="T19" fmla="*/ 120960 h 700"/>
              <a:gd name="T20" fmla="*/ 1732709 w 3494"/>
              <a:gd name="T21" fmla="*/ 90180 h 700"/>
              <a:gd name="T22" fmla="*/ 1694483 w 3494"/>
              <a:gd name="T23" fmla="*/ 92340 h 700"/>
              <a:gd name="T24" fmla="*/ 1671548 w 3494"/>
              <a:gd name="T25" fmla="*/ 125280 h 700"/>
              <a:gd name="T26" fmla="*/ 1698852 w 3494"/>
              <a:gd name="T27" fmla="*/ 167400 h 700"/>
              <a:gd name="T28" fmla="*/ 1654073 w 3494"/>
              <a:gd name="T29" fmla="*/ 333180 h 700"/>
              <a:gd name="T30" fmla="*/ 1525745 w 3494"/>
              <a:gd name="T31" fmla="*/ 158760 h 700"/>
              <a:gd name="T32" fmla="*/ 1561240 w 3494"/>
              <a:gd name="T33" fmla="*/ 75600 h 700"/>
              <a:gd name="T34" fmla="*/ 1632230 w 3494"/>
              <a:gd name="T35" fmla="*/ 18360 h 700"/>
              <a:gd name="T36" fmla="*/ 1715780 w 3494"/>
              <a:gd name="T37" fmla="*/ 0 h 700"/>
              <a:gd name="T38" fmla="*/ 1806975 w 3494"/>
              <a:gd name="T39" fmla="*/ 22680 h 700"/>
              <a:gd name="T40" fmla="*/ 1875235 w 3494"/>
              <a:gd name="T41" fmla="*/ 82080 h 700"/>
              <a:gd name="T42" fmla="*/ 1906908 w 3494"/>
              <a:gd name="T43" fmla="*/ 167940 h 700"/>
              <a:gd name="T44" fmla="*/ 1898717 w 3494"/>
              <a:gd name="T45" fmla="*/ 246240 h 700"/>
              <a:gd name="T46" fmla="*/ 1836464 w 3494"/>
              <a:gd name="T47" fmla="*/ 286200 h 700"/>
              <a:gd name="T48" fmla="*/ 1871959 w 3494"/>
              <a:gd name="T49" fmla="*/ 187380 h 700"/>
              <a:gd name="T50" fmla="*/ 1852846 w 3494"/>
              <a:gd name="T51" fmla="*/ 113400 h 700"/>
              <a:gd name="T52" fmla="*/ 1803153 w 3494"/>
              <a:gd name="T53" fmla="*/ 58320 h 700"/>
              <a:gd name="T54" fmla="*/ 1731616 w 3494"/>
              <a:gd name="T55" fmla="*/ 32940 h 700"/>
              <a:gd name="T56" fmla="*/ 1662264 w 3494"/>
              <a:gd name="T57" fmla="*/ 41580 h 700"/>
              <a:gd name="T58" fmla="*/ 1600011 w 3494"/>
              <a:gd name="T59" fmla="*/ 83700 h 700"/>
              <a:gd name="T60" fmla="*/ 1564516 w 3494"/>
              <a:gd name="T61" fmla="*/ 149040 h 700"/>
              <a:gd name="T62" fmla="*/ 1568339 w 3494"/>
              <a:gd name="T63" fmla="*/ 239760 h 700"/>
              <a:gd name="T64" fmla="*/ 1550318 w 3494"/>
              <a:gd name="T65" fmla="*/ 284040 h 700"/>
              <a:gd name="T66" fmla="*/ 1523560 w 3494"/>
              <a:gd name="T67" fmla="*/ 205200 h 700"/>
              <a:gd name="T68" fmla="*/ 1358645 w 3494"/>
              <a:gd name="T69" fmla="*/ 246780 h 700"/>
              <a:gd name="T70" fmla="*/ 1331887 w 3494"/>
              <a:gd name="T71" fmla="*/ 155520 h 700"/>
              <a:gd name="T72" fmla="*/ 1117824 w 3494"/>
              <a:gd name="T73" fmla="*/ 157680 h 700"/>
              <a:gd name="T74" fmla="*/ 1163148 w 3494"/>
              <a:gd name="T75" fmla="*/ 126360 h 700"/>
              <a:gd name="T76" fmla="*/ 1206835 w 3494"/>
              <a:gd name="T77" fmla="*/ 139320 h 700"/>
              <a:gd name="T78" fmla="*/ 1188814 w 3494"/>
              <a:gd name="T79" fmla="*/ 162540 h 700"/>
              <a:gd name="T80" fmla="*/ 1163694 w 3494"/>
              <a:gd name="T81" fmla="*/ 152820 h 700"/>
              <a:gd name="T82" fmla="*/ 1142943 w 3494"/>
              <a:gd name="T83" fmla="*/ 188460 h 700"/>
              <a:gd name="T84" fmla="*/ 1168609 w 3494"/>
              <a:gd name="T85" fmla="*/ 225180 h 700"/>
              <a:gd name="T86" fmla="*/ 1221579 w 3494"/>
              <a:gd name="T87" fmla="*/ 181440 h 700"/>
              <a:gd name="T88" fmla="*/ 1173524 w 3494"/>
              <a:gd name="T89" fmla="*/ 251100 h 700"/>
              <a:gd name="T90" fmla="*/ 1123831 w 3494"/>
              <a:gd name="T91" fmla="*/ 230040 h 700"/>
              <a:gd name="T92" fmla="*/ 1043557 w 3494"/>
              <a:gd name="T93" fmla="*/ 160380 h 700"/>
              <a:gd name="T94" fmla="*/ 1026629 w 3494"/>
              <a:gd name="T95" fmla="*/ 129600 h 700"/>
              <a:gd name="T96" fmla="*/ 894477 w 3494"/>
              <a:gd name="T97" fmla="*/ 129600 h 700"/>
              <a:gd name="T98" fmla="*/ 841508 w 3494"/>
              <a:gd name="T99" fmla="*/ 199800 h 700"/>
              <a:gd name="T100" fmla="*/ 656387 w 3494"/>
              <a:gd name="T101" fmla="*/ 199800 h 700"/>
              <a:gd name="T102" fmla="*/ 523144 w 3494"/>
              <a:gd name="T103" fmla="*/ 246780 h 700"/>
              <a:gd name="T104" fmla="*/ 359866 w 3494"/>
              <a:gd name="T105" fmla="*/ 246780 h 700"/>
              <a:gd name="T106" fmla="*/ 390993 w 3494"/>
              <a:gd name="T107" fmla="*/ 129600 h 700"/>
              <a:gd name="T108" fmla="*/ 277954 w 3494"/>
              <a:gd name="T109" fmla="*/ 175500 h 700"/>
              <a:gd name="T110" fmla="*/ 119591 w 3494"/>
              <a:gd name="T111" fmla="*/ 218160 h 700"/>
              <a:gd name="T112" fmla="*/ 153994 w 3494"/>
              <a:gd name="T113" fmla="*/ 250020 h 700"/>
              <a:gd name="T114" fmla="*/ 197681 w 3494"/>
              <a:gd name="T115" fmla="*/ 244620 h 700"/>
              <a:gd name="T116" fmla="*/ 221162 w 3494"/>
              <a:gd name="T117" fmla="*/ 198720 h 700"/>
              <a:gd name="T118" fmla="*/ 177476 w 3494"/>
              <a:gd name="T119" fmla="*/ 223020 h 700"/>
              <a:gd name="T120" fmla="*/ 149626 w 3494"/>
              <a:gd name="T121" fmla="*/ 207900 h 700"/>
              <a:gd name="T122" fmla="*/ 105939 w 3494"/>
              <a:gd name="T123" fmla="*/ 246780 h 7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494" h="700">
                <a:moveTo>
                  <a:pt x="3106" y="239"/>
                </a:moveTo>
                <a:lnTo>
                  <a:pt x="3106" y="239"/>
                </a:lnTo>
                <a:lnTo>
                  <a:pt x="3107" y="232"/>
                </a:lnTo>
                <a:lnTo>
                  <a:pt x="3109" y="225"/>
                </a:lnTo>
                <a:lnTo>
                  <a:pt x="3113" y="220"/>
                </a:lnTo>
                <a:lnTo>
                  <a:pt x="3117" y="215"/>
                </a:lnTo>
                <a:lnTo>
                  <a:pt x="3122" y="210"/>
                </a:lnTo>
                <a:lnTo>
                  <a:pt x="3128" y="207"/>
                </a:lnTo>
                <a:lnTo>
                  <a:pt x="3134" y="205"/>
                </a:lnTo>
                <a:lnTo>
                  <a:pt x="3141" y="205"/>
                </a:lnTo>
                <a:lnTo>
                  <a:pt x="3148" y="205"/>
                </a:lnTo>
                <a:lnTo>
                  <a:pt x="3155" y="207"/>
                </a:lnTo>
                <a:lnTo>
                  <a:pt x="3161" y="210"/>
                </a:lnTo>
                <a:lnTo>
                  <a:pt x="3166" y="215"/>
                </a:lnTo>
                <a:lnTo>
                  <a:pt x="3171" y="220"/>
                </a:lnTo>
                <a:lnTo>
                  <a:pt x="3174" y="225"/>
                </a:lnTo>
                <a:lnTo>
                  <a:pt x="3176" y="232"/>
                </a:lnTo>
                <a:lnTo>
                  <a:pt x="3176" y="239"/>
                </a:lnTo>
                <a:lnTo>
                  <a:pt x="3176" y="247"/>
                </a:lnTo>
                <a:lnTo>
                  <a:pt x="3174" y="253"/>
                </a:lnTo>
                <a:lnTo>
                  <a:pt x="3171" y="260"/>
                </a:lnTo>
                <a:lnTo>
                  <a:pt x="3166" y="264"/>
                </a:lnTo>
                <a:lnTo>
                  <a:pt x="3161" y="268"/>
                </a:lnTo>
                <a:lnTo>
                  <a:pt x="3155" y="272"/>
                </a:lnTo>
                <a:lnTo>
                  <a:pt x="3148" y="274"/>
                </a:lnTo>
                <a:lnTo>
                  <a:pt x="3141" y="275"/>
                </a:lnTo>
                <a:lnTo>
                  <a:pt x="3134" y="274"/>
                </a:lnTo>
                <a:lnTo>
                  <a:pt x="3128" y="272"/>
                </a:lnTo>
                <a:lnTo>
                  <a:pt x="3122" y="268"/>
                </a:lnTo>
                <a:lnTo>
                  <a:pt x="3117" y="264"/>
                </a:lnTo>
                <a:lnTo>
                  <a:pt x="3113" y="260"/>
                </a:lnTo>
                <a:lnTo>
                  <a:pt x="3109" y="253"/>
                </a:lnTo>
                <a:lnTo>
                  <a:pt x="3107" y="247"/>
                </a:lnTo>
                <a:lnTo>
                  <a:pt x="3106" y="239"/>
                </a:lnTo>
                <a:close/>
                <a:moveTo>
                  <a:pt x="2916" y="617"/>
                </a:moveTo>
                <a:lnTo>
                  <a:pt x="2916" y="617"/>
                </a:lnTo>
                <a:lnTo>
                  <a:pt x="2928" y="627"/>
                </a:lnTo>
                <a:lnTo>
                  <a:pt x="2940" y="636"/>
                </a:lnTo>
                <a:lnTo>
                  <a:pt x="2953" y="644"/>
                </a:lnTo>
                <a:lnTo>
                  <a:pt x="2966" y="653"/>
                </a:lnTo>
                <a:lnTo>
                  <a:pt x="2978" y="660"/>
                </a:lnTo>
                <a:lnTo>
                  <a:pt x="2992" y="667"/>
                </a:lnTo>
                <a:lnTo>
                  <a:pt x="3006" y="673"/>
                </a:lnTo>
                <a:lnTo>
                  <a:pt x="3020" y="679"/>
                </a:lnTo>
                <a:lnTo>
                  <a:pt x="3034" y="683"/>
                </a:lnTo>
                <a:lnTo>
                  <a:pt x="3049" y="687"/>
                </a:lnTo>
                <a:lnTo>
                  <a:pt x="3064" y="691"/>
                </a:lnTo>
                <a:lnTo>
                  <a:pt x="3079" y="695"/>
                </a:lnTo>
                <a:lnTo>
                  <a:pt x="3094" y="697"/>
                </a:lnTo>
                <a:lnTo>
                  <a:pt x="3111" y="698"/>
                </a:lnTo>
                <a:lnTo>
                  <a:pt x="3126" y="699"/>
                </a:lnTo>
                <a:lnTo>
                  <a:pt x="3142" y="700"/>
                </a:lnTo>
                <a:lnTo>
                  <a:pt x="3157" y="699"/>
                </a:lnTo>
                <a:lnTo>
                  <a:pt x="3173" y="698"/>
                </a:lnTo>
                <a:lnTo>
                  <a:pt x="3188" y="697"/>
                </a:lnTo>
                <a:lnTo>
                  <a:pt x="3204" y="695"/>
                </a:lnTo>
                <a:lnTo>
                  <a:pt x="3219" y="691"/>
                </a:lnTo>
                <a:lnTo>
                  <a:pt x="3234" y="687"/>
                </a:lnTo>
                <a:lnTo>
                  <a:pt x="3248" y="683"/>
                </a:lnTo>
                <a:lnTo>
                  <a:pt x="3263" y="679"/>
                </a:lnTo>
                <a:lnTo>
                  <a:pt x="3277" y="673"/>
                </a:lnTo>
                <a:lnTo>
                  <a:pt x="3291" y="667"/>
                </a:lnTo>
                <a:lnTo>
                  <a:pt x="3305" y="660"/>
                </a:lnTo>
                <a:lnTo>
                  <a:pt x="3318" y="653"/>
                </a:lnTo>
                <a:lnTo>
                  <a:pt x="3331" y="644"/>
                </a:lnTo>
                <a:lnTo>
                  <a:pt x="3344" y="636"/>
                </a:lnTo>
                <a:lnTo>
                  <a:pt x="3355" y="627"/>
                </a:lnTo>
                <a:lnTo>
                  <a:pt x="3366" y="617"/>
                </a:lnTo>
                <a:lnTo>
                  <a:pt x="3323" y="571"/>
                </a:lnTo>
                <a:lnTo>
                  <a:pt x="3307" y="585"/>
                </a:lnTo>
                <a:lnTo>
                  <a:pt x="3290" y="597"/>
                </a:lnTo>
                <a:lnTo>
                  <a:pt x="3273" y="608"/>
                </a:lnTo>
                <a:lnTo>
                  <a:pt x="3254" y="617"/>
                </a:lnTo>
                <a:lnTo>
                  <a:pt x="3235" y="625"/>
                </a:lnTo>
                <a:lnTo>
                  <a:pt x="3215" y="631"/>
                </a:lnTo>
                <a:lnTo>
                  <a:pt x="3194" y="637"/>
                </a:lnTo>
                <a:lnTo>
                  <a:pt x="3173" y="639"/>
                </a:lnTo>
                <a:lnTo>
                  <a:pt x="3173" y="393"/>
                </a:lnTo>
                <a:lnTo>
                  <a:pt x="3233" y="393"/>
                </a:lnTo>
                <a:lnTo>
                  <a:pt x="3233" y="347"/>
                </a:lnTo>
                <a:lnTo>
                  <a:pt x="3173" y="347"/>
                </a:lnTo>
                <a:lnTo>
                  <a:pt x="3173" y="310"/>
                </a:lnTo>
                <a:lnTo>
                  <a:pt x="3184" y="306"/>
                </a:lnTo>
                <a:lnTo>
                  <a:pt x="3192" y="300"/>
                </a:lnTo>
                <a:lnTo>
                  <a:pt x="3201" y="292"/>
                </a:lnTo>
                <a:lnTo>
                  <a:pt x="3208" y="283"/>
                </a:lnTo>
                <a:lnTo>
                  <a:pt x="3214" y="275"/>
                </a:lnTo>
                <a:lnTo>
                  <a:pt x="3218" y="264"/>
                </a:lnTo>
                <a:lnTo>
                  <a:pt x="3221" y="252"/>
                </a:lnTo>
                <a:lnTo>
                  <a:pt x="3222" y="240"/>
                </a:lnTo>
                <a:lnTo>
                  <a:pt x="3221" y="232"/>
                </a:lnTo>
                <a:lnTo>
                  <a:pt x="3220" y="224"/>
                </a:lnTo>
                <a:lnTo>
                  <a:pt x="3218" y="217"/>
                </a:lnTo>
                <a:lnTo>
                  <a:pt x="3216" y="209"/>
                </a:lnTo>
                <a:lnTo>
                  <a:pt x="3213" y="202"/>
                </a:lnTo>
                <a:lnTo>
                  <a:pt x="3208" y="195"/>
                </a:lnTo>
                <a:lnTo>
                  <a:pt x="3204" y="189"/>
                </a:lnTo>
                <a:lnTo>
                  <a:pt x="3199" y="184"/>
                </a:lnTo>
                <a:lnTo>
                  <a:pt x="3193" y="179"/>
                </a:lnTo>
                <a:lnTo>
                  <a:pt x="3187" y="174"/>
                </a:lnTo>
                <a:lnTo>
                  <a:pt x="3180" y="171"/>
                </a:lnTo>
                <a:lnTo>
                  <a:pt x="3173" y="167"/>
                </a:lnTo>
                <a:lnTo>
                  <a:pt x="3165" y="164"/>
                </a:lnTo>
                <a:lnTo>
                  <a:pt x="3158" y="162"/>
                </a:lnTo>
                <a:lnTo>
                  <a:pt x="3150" y="161"/>
                </a:lnTo>
                <a:lnTo>
                  <a:pt x="3142" y="161"/>
                </a:lnTo>
                <a:lnTo>
                  <a:pt x="3133" y="161"/>
                </a:lnTo>
                <a:lnTo>
                  <a:pt x="3126" y="162"/>
                </a:lnTo>
                <a:lnTo>
                  <a:pt x="3118" y="164"/>
                </a:lnTo>
                <a:lnTo>
                  <a:pt x="3111" y="167"/>
                </a:lnTo>
                <a:lnTo>
                  <a:pt x="3103" y="171"/>
                </a:lnTo>
                <a:lnTo>
                  <a:pt x="3097" y="174"/>
                </a:lnTo>
                <a:lnTo>
                  <a:pt x="3090" y="179"/>
                </a:lnTo>
                <a:lnTo>
                  <a:pt x="3085" y="184"/>
                </a:lnTo>
                <a:lnTo>
                  <a:pt x="3079" y="189"/>
                </a:lnTo>
                <a:lnTo>
                  <a:pt x="3075" y="195"/>
                </a:lnTo>
                <a:lnTo>
                  <a:pt x="3071" y="202"/>
                </a:lnTo>
                <a:lnTo>
                  <a:pt x="3068" y="209"/>
                </a:lnTo>
                <a:lnTo>
                  <a:pt x="3064" y="217"/>
                </a:lnTo>
                <a:lnTo>
                  <a:pt x="3062" y="224"/>
                </a:lnTo>
                <a:lnTo>
                  <a:pt x="3061" y="232"/>
                </a:lnTo>
                <a:lnTo>
                  <a:pt x="3061" y="240"/>
                </a:lnTo>
                <a:lnTo>
                  <a:pt x="3062" y="252"/>
                </a:lnTo>
                <a:lnTo>
                  <a:pt x="3064" y="264"/>
                </a:lnTo>
                <a:lnTo>
                  <a:pt x="3069" y="275"/>
                </a:lnTo>
                <a:lnTo>
                  <a:pt x="3075" y="283"/>
                </a:lnTo>
                <a:lnTo>
                  <a:pt x="3082" y="292"/>
                </a:lnTo>
                <a:lnTo>
                  <a:pt x="3090" y="300"/>
                </a:lnTo>
                <a:lnTo>
                  <a:pt x="3100" y="306"/>
                </a:lnTo>
                <a:lnTo>
                  <a:pt x="3111" y="310"/>
                </a:lnTo>
                <a:lnTo>
                  <a:pt x="3111" y="347"/>
                </a:lnTo>
                <a:lnTo>
                  <a:pt x="3050" y="347"/>
                </a:lnTo>
                <a:lnTo>
                  <a:pt x="3050" y="393"/>
                </a:lnTo>
                <a:lnTo>
                  <a:pt x="3111" y="393"/>
                </a:lnTo>
                <a:lnTo>
                  <a:pt x="3111" y="639"/>
                </a:lnTo>
                <a:lnTo>
                  <a:pt x="3089" y="637"/>
                </a:lnTo>
                <a:lnTo>
                  <a:pt x="3069" y="631"/>
                </a:lnTo>
                <a:lnTo>
                  <a:pt x="3048" y="625"/>
                </a:lnTo>
                <a:lnTo>
                  <a:pt x="3029" y="617"/>
                </a:lnTo>
                <a:lnTo>
                  <a:pt x="3011" y="608"/>
                </a:lnTo>
                <a:lnTo>
                  <a:pt x="2992" y="597"/>
                </a:lnTo>
                <a:lnTo>
                  <a:pt x="2976" y="585"/>
                </a:lnTo>
                <a:lnTo>
                  <a:pt x="2960" y="571"/>
                </a:lnTo>
                <a:lnTo>
                  <a:pt x="2916" y="617"/>
                </a:lnTo>
                <a:close/>
                <a:moveTo>
                  <a:pt x="2789" y="347"/>
                </a:moveTo>
                <a:lnTo>
                  <a:pt x="2789" y="347"/>
                </a:lnTo>
                <a:lnTo>
                  <a:pt x="2789" y="330"/>
                </a:lnTo>
                <a:lnTo>
                  <a:pt x="2792" y="311"/>
                </a:lnTo>
                <a:lnTo>
                  <a:pt x="2794" y="294"/>
                </a:lnTo>
                <a:lnTo>
                  <a:pt x="2797" y="277"/>
                </a:lnTo>
                <a:lnTo>
                  <a:pt x="2800" y="261"/>
                </a:lnTo>
                <a:lnTo>
                  <a:pt x="2806" y="244"/>
                </a:lnTo>
                <a:lnTo>
                  <a:pt x="2811" y="228"/>
                </a:lnTo>
                <a:lnTo>
                  <a:pt x="2817" y="212"/>
                </a:lnTo>
                <a:lnTo>
                  <a:pt x="2824" y="196"/>
                </a:lnTo>
                <a:lnTo>
                  <a:pt x="2832" y="181"/>
                </a:lnTo>
                <a:lnTo>
                  <a:pt x="2840" y="167"/>
                </a:lnTo>
                <a:lnTo>
                  <a:pt x="2850" y="152"/>
                </a:lnTo>
                <a:lnTo>
                  <a:pt x="2859" y="140"/>
                </a:lnTo>
                <a:lnTo>
                  <a:pt x="2870" y="127"/>
                </a:lnTo>
                <a:lnTo>
                  <a:pt x="2881" y="114"/>
                </a:lnTo>
                <a:lnTo>
                  <a:pt x="2893" y="101"/>
                </a:lnTo>
                <a:lnTo>
                  <a:pt x="2905" y="90"/>
                </a:lnTo>
                <a:lnTo>
                  <a:pt x="2917" y="79"/>
                </a:lnTo>
                <a:lnTo>
                  <a:pt x="2931" y="69"/>
                </a:lnTo>
                <a:lnTo>
                  <a:pt x="2945" y="59"/>
                </a:lnTo>
                <a:lnTo>
                  <a:pt x="2959" y="49"/>
                </a:lnTo>
                <a:lnTo>
                  <a:pt x="2974" y="42"/>
                </a:lnTo>
                <a:lnTo>
                  <a:pt x="2989" y="34"/>
                </a:lnTo>
                <a:lnTo>
                  <a:pt x="3004" y="27"/>
                </a:lnTo>
                <a:lnTo>
                  <a:pt x="3020" y="20"/>
                </a:lnTo>
                <a:lnTo>
                  <a:pt x="3038" y="15"/>
                </a:lnTo>
                <a:lnTo>
                  <a:pt x="3054" y="11"/>
                </a:lnTo>
                <a:lnTo>
                  <a:pt x="3071" y="6"/>
                </a:lnTo>
                <a:lnTo>
                  <a:pt x="3088" y="3"/>
                </a:lnTo>
                <a:lnTo>
                  <a:pt x="3105" y="1"/>
                </a:lnTo>
                <a:lnTo>
                  <a:pt x="3123" y="0"/>
                </a:lnTo>
                <a:lnTo>
                  <a:pt x="3142" y="0"/>
                </a:lnTo>
                <a:lnTo>
                  <a:pt x="3160" y="0"/>
                </a:lnTo>
                <a:lnTo>
                  <a:pt x="3177" y="1"/>
                </a:lnTo>
                <a:lnTo>
                  <a:pt x="3195" y="3"/>
                </a:lnTo>
                <a:lnTo>
                  <a:pt x="3213" y="6"/>
                </a:lnTo>
                <a:lnTo>
                  <a:pt x="3230" y="11"/>
                </a:lnTo>
                <a:lnTo>
                  <a:pt x="3246" y="15"/>
                </a:lnTo>
                <a:lnTo>
                  <a:pt x="3262" y="20"/>
                </a:lnTo>
                <a:lnTo>
                  <a:pt x="3278" y="27"/>
                </a:lnTo>
                <a:lnTo>
                  <a:pt x="3294" y="34"/>
                </a:lnTo>
                <a:lnTo>
                  <a:pt x="3309" y="42"/>
                </a:lnTo>
                <a:lnTo>
                  <a:pt x="3324" y="49"/>
                </a:lnTo>
                <a:lnTo>
                  <a:pt x="3338" y="59"/>
                </a:lnTo>
                <a:lnTo>
                  <a:pt x="3352" y="69"/>
                </a:lnTo>
                <a:lnTo>
                  <a:pt x="3365" y="79"/>
                </a:lnTo>
                <a:lnTo>
                  <a:pt x="3378" y="90"/>
                </a:lnTo>
                <a:lnTo>
                  <a:pt x="3391" y="101"/>
                </a:lnTo>
                <a:lnTo>
                  <a:pt x="3403" y="114"/>
                </a:lnTo>
                <a:lnTo>
                  <a:pt x="3413" y="127"/>
                </a:lnTo>
                <a:lnTo>
                  <a:pt x="3424" y="140"/>
                </a:lnTo>
                <a:lnTo>
                  <a:pt x="3434" y="152"/>
                </a:lnTo>
                <a:lnTo>
                  <a:pt x="3442" y="167"/>
                </a:lnTo>
                <a:lnTo>
                  <a:pt x="3451" y="181"/>
                </a:lnTo>
                <a:lnTo>
                  <a:pt x="3459" y="196"/>
                </a:lnTo>
                <a:lnTo>
                  <a:pt x="3466" y="212"/>
                </a:lnTo>
                <a:lnTo>
                  <a:pt x="3473" y="228"/>
                </a:lnTo>
                <a:lnTo>
                  <a:pt x="3478" y="244"/>
                </a:lnTo>
                <a:lnTo>
                  <a:pt x="3483" y="261"/>
                </a:lnTo>
                <a:lnTo>
                  <a:pt x="3486" y="277"/>
                </a:lnTo>
                <a:lnTo>
                  <a:pt x="3490" y="294"/>
                </a:lnTo>
                <a:lnTo>
                  <a:pt x="3492" y="311"/>
                </a:lnTo>
                <a:lnTo>
                  <a:pt x="3493" y="330"/>
                </a:lnTo>
                <a:lnTo>
                  <a:pt x="3494" y="347"/>
                </a:lnTo>
                <a:lnTo>
                  <a:pt x="3494" y="364"/>
                </a:lnTo>
                <a:lnTo>
                  <a:pt x="3493" y="380"/>
                </a:lnTo>
                <a:lnTo>
                  <a:pt x="3491" y="395"/>
                </a:lnTo>
                <a:lnTo>
                  <a:pt x="3488" y="411"/>
                </a:lnTo>
                <a:lnTo>
                  <a:pt x="3484" y="426"/>
                </a:lnTo>
                <a:lnTo>
                  <a:pt x="3481" y="441"/>
                </a:lnTo>
                <a:lnTo>
                  <a:pt x="3477" y="456"/>
                </a:lnTo>
                <a:lnTo>
                  <a:pt x="3471" y="471"/>
                </a:lnTo>
                <a:lnTo>
                  <a:pt x="3465" y="485"/>
                </a:lnTo>
                <a:lnTo>
                  <a:pt x="3459" y="499"/>
                </a:lnTo>
                <a:lnTo>
                  <a:pt x="3452" y="513"/>
                </a:lnTo>
                <a:lnTo>
                  <a:pt x="3445" y="526"/>
                </a:lnTo>
                <a:lnTo>
                  <a:pt x="3436" y="539"/>
                </a:lnTo>
                <a:lnTo>
                  <a:pt x="3427" y="552"/>
                </a:lnTo>
                <a:lnTo>
                  <a:pt x="3419" y="565"/>
                </a:lnTo>
                <a:lnTo>
                  <a:pt x="3408" y="577"/>
                </a:lnTo>
                <a:lnTo>
                  <a:pt x="3363" y="530"/>
                </a:lnTo>
                <a:lnTo>
                  <a:pt x="3378" y="511"/>
                </a:lnTo>
                <a:lnTo>
                  <a:pt x="3391" y="490"/>
                </a:lnTo>
                <a:lnTo>
                  <a:pt x="3402" y="468"/>
                </a:lnTo>
                <a:lnTo>
                  <a:pt x="3411" y="444"/>
                </a:lnTo>
                <a:lnTo>
                  <a:pt x="3419" y="421"/>
                </a:lnTo>
                <a:lnTo>
                  <a:pt x="3424" y="397"/>
                </a:lnTo>
                <a:lnTo>
                  <a:pt x="3427" y="373"/>
                </a:lnTo>
                <a:lnTo>
                  <a:pt x="3428" y="347"/>
                </a:lnTo>
                <a:lnTo>
                  <a:pt x="3427" y="333"/>
                </a:lnTo>
                <a:lnTo>
                  <a:pt x="3426" y="318"/>
                </a:lnTo>
                <a:lnTo>
                  <a:pt x="3425" y="304"/>
                </a:lnTo>
                <a:lnTo>
                  <a:pt x="3422" y="290"/>
                </a:lnTo>
                <a:lnTo>
                  <a:pt x="3419" y="276"/>
                </a:lnTo>
                <a:lnTo>
                  <a:pt x="3416" y="262"/>
                </a:lnTo>
                <a:lnTo>
                  <a:pt x="3410" y="249"/>
                </a:lnTo>
                <a:lnTo>
                  <a:pt x="3406" y="236"/>
                </a:lnTo>
                <a:lnTo>
                  <a:pt x="3399" y="223"/>
                </a:lnTo>
                <a:lnTo>
                  <a:pt x="3393" y="210"/>
                </a:lnTo>
                <a:lnTo>
                  <a:pt x="3387" y="199"/>
                </a:lnTo>
                <a:lnTo>
                  <a:pt x="3379" y="187"/>
                </a:lnTo>
                <a:lnTo>
                  <a:pt x="3370" y="176"/>
                </a:lnTo>
                <a:lnTo>
                  <a:pt x="3362" y="164"/>
                </a:lnTo>
                <a:lnTo>
                  <a:pt x="3353" y="155"/>
                </a:lnTo>
                <a:lnTo>
                  <a:pt x="3344" y="144"/>
                </a:lnTo>
                <a:lnTo>
                  <a:pt x="3334" y="134"/>
                </a:lnTo>
                <a:lnTo>
                  <a:pt x="3323" y="126"/>
                </a:lnTo>
                <a:lnTo>
                  <a:pt x="3312" y="117"/>
                </a:lnTo>
                <a:lnTo>
                  <a:pt x="3302" y="108"/>
                </a:lnTo>
                <a:lnTo>
                  <a:pt x="3290" y="101"/>
                </a:lnTo>
                <a:lnTo>
                  <a:pt x="3278" y="94"/>
                </a:lnTo>
                <a:lnTo>
                  <a:pt x="3265" y="88"/>
                </a:lnTo>
                <a:lnTo>
                  <a:pt x="3252" y="82"/>
                </a:lnTo>
                <a:lnTo>
                  <a:pt x="3239" y="77"/>
                </a:lnTo>
                <a:lnTo>
                  <a:pt x="3227" y="72"/>
                </a:lnTo>
                <a:lnTo>
                  <a:pt x="3213" y="69"/>
                </a:lnTo>
                <a:lnTo>
                  <a:pt x="3199" y="65"/>
                </a:lnTo>
                <a:lnTo>
                  <a:pt x="3185" y="62"/>
                </a:lnTo>
                <a:lnTo>
                  <a:pt x="3171" y="61"/>
                </a:lnTo>
                <a:lnTo>
                  <a:pt x="3157" y="60"/>
                </a:lnTo>
                <a:lnTo>
                  <a:pt x="3142" y="59"/>
                </a:lnTo>
                <a:lnTo>
                  <a:pt x="3127" y="60"/>
                </a:lnTo>
                <a:lnTo>
                  <a:pt x="3113" y="61"/>
                </a:lnTo>
                <a:lnTo>
                  <a:pt x="3099" y="62"/>
                </a:lnTo>
                <a:lnTo>
                  <a:pt x="3084" y="65"/>
                </a:lnTo>
                <a:lnTo>
                  <a:pt x="3071" y="69"/>
                </a:lnTo>
                <a:lnTo>
                  <a:pt x="3057" y="72"/>
                </a:lnTo>
                <a:lnTo>
                  <a:pt x="3044" y="77"/>
                </a:lnTo>
                <a:lnTo>
                  <a:pt x="3030" y="82"/>
                </a:lnTo>
                <a:lnTo>
                  <a:pt x="3018" y="88"/>
                </a:lnTo>
                <a:lnTo>
                  <a:pt x="3005" y="94"/>
                </a:lnTo>
                <a:lnTo>
                  <a:pt x="2993" y="101"/>
                </a:lnTo>
                <a:lnTo>
                  <a:pt x="2982" y="108"/>
                </a:lnTo>
                <a:lnTo>
                  <a:pt x="2971" y="117"/>
                </a:lnTo>
                <a:lnTo>
                  <a:pt x="2960" y="126"/>
                </a:lnTo>
                <a:lnTo>
                  <a:pt x="2949" y="134"/>
                </a:lnTo>
                <a:lnTo>
                  <a:pt x="2940" y="144"/>
                </a:lnTo>
                <a:lnTo>
                  <a:pt x="2930" y="155"/>
                </a:lnTo>
                <a:lnTo>
                  <a:pt x="2920" y="164"/>
                </a:lnTo>
                <a:lnTo>
                  <a:pt x="2912" y="176"/>
                </a:lnTo>
                <a:lnTo>
                  <a:pt x="2904" y="187"/>
                </a:lnTo>
                <a:lnTo>
                  <a:pt x="2897" y="199"/>
                </a:lnTo>
                <a:lnTo>
                  <a:pt x="2890" y="210"/>
                </a:lnTo>
                <a:lnTo>
                  <a:pt x="2884" y="223"/>
                </a:lnTo>
                <a:lnTo>
                  <a:pt x="2877" y="236"/>
                </a:lnTo>
                <a:lnTo>
                  <a:pt x="2872" y="249"/>
                </a:lnTo>
                <a:lnTo>
                  <a:pt x="2868" y="262"/>
                </a:lnTo>
                <a:lnTo>
                  <a:pt x="2865" y="276"/>
                </a:lnTo>
                <a:lnTo>
                  <a:pt x="2861" y="290"/>
                </a:lnTo>
                <a:lnTo>
                  <a:pt x="2858" y="304"/>
                </a:lnTo>
                <a:lnTo>
                  <a:pt x="2857" y="318"/>
                </a:lnTo>
                <a:lnTo>
                  <a:pt x="2855" y="333"/>
                </a:lnTo>
                <a:lnTo>
                  <a:pt x="2855" y="347"/>
                </a:lnTo>
                <a:lnTo>
                  <a:pt x="2856" y="373"/>
                </a:lnTo>
                <a:lnTo>
                  <a:pt x="2859" y="397"/>
                </a:lnTo>
                <a:lnTo>
                  <a:pt x="2865" y="421"/>
                </a:lnTo>
                <a:lnTo>
                  <a:pt x="2872" y="444"/>
                </a:lnTo>
                <a:lnTo>
                  <a:pt x="2881" y="468"/>
                </a:lnTo>
                <a:lnTo>
                  <a:pt x="2893" y="490"/>
                </a:lnTo>
                <a:lnTo>
                  <a:pt x="2905" y="511"/>
                </a:lnTo>
                <a:lnTo>
                  <a:pt x="2920" y="530"/>
                </a:lnTo>
                <a:lnTo>
                  <a:pt x="2874" y="577"/>
                </a:lnTo>
                <a:lnTo>
                  <a:pt x="2865" y="565"/>
                </a:lnTo>
                <a:lnTo>
                  <a:pt x="2856" y="552"/>
                </a:lnTo>
                <a:lnTo>
                  <a:pt x="2847" y="539"/>
                </a:lnTo>
                <a:lnTo>
                  <a:pt x="2839" y="526"/>
                </a:lnTo>
                <a:lnTo>
                  <a:pt x="2831" y="513"/>
                </a:lnTo>
                <a:lnTo>
                  <a:pt x="2824" y="499"/>
                </a:lnTo>
                <a:lnTo>
                  <a:pt x="2817" y="485"/>
                </a:lnTo>
                <a:lnTo>
                  <a:pt x="2812" y="471"/>
                </a:lnTo>
                <a:lnTo>
                  <a:pt x="2807" y="456"/>
                </a:lnTo>
                <a:lnTo>
                  <a:pt x="2802" y="441"/>
                </a:lnTo>
                <a:lnTo>
                  <a:pt x="2798" y="426"/>
                </a:lnTo>
                <a:lnTo>
                  <a:pt x="2795" y="411"/>
                </a:lnTo>
                <a:lnTo>
                  <a:pt x="2793" y="395"/>
                </a:lnTo>
                <a:lnTo>
                  <a:pt x="2790" y="380"/>
                </a:lnTo>
                <a:lnTo>
                  <a:pt x="2789" y="364"/>
                </a:lnTo>
                <a:lnTo>
                  <a:pt x="2789" y="347"/>
                </a:lnTo>
                <a:close/>
                <a:moveTo>
                  <a:pt x="2488" y="457"/>
                </a:moveTo>
                <a:lnTo>
                  <a:pt x="2488" y="240"/>
                </a:lnTo>
                <a:lnTo>
                  <a:pt x="2547" y="240"/>
                </a:lnTo>
                <a:lnTo>
                  <a:pt x="2547" y="408"/>
                </a:lnTo>
                <a:lnTo>
                  <a:pt x="2645" y="408"/>
                </a:lnTo>
                <a:lnTo>
                  <a:pt x="2645" y="457"/>
                </a:lnTo>
                <a:lnTo>
                  <a:pt x="2488" y="457"/>
                </a:lnTo>
                <a:close/>
                <a:moveTo>
                  <a:pt x="2284" y="457"/>
                </a:moveTo>
                <a:lnTo>
                  <a:pt x="2445" y="457"/>
                </a:lnTo>
                <a:lnTo>
                  <a:pt x="2445" y="408"/>
                </a:lnTo>
                <a:lnTo>
                  <a:pt x="2338" y="408"/>
                </a:lnTo>
                <a:lnTo>
                  <a:pt x="2338" y="370"/>
                </a:lnTo>
                <a:lnTo>
                  <a:pt x="2426" y="370"/>
                </a:lnTo>
                <a:lnTo>
                  <a:pt x="2426" y="325"/>
                </a:lnTo>
                <a:lnTo>
                  <a:pt x="2338" y="325"/>
                </a:lnTo>
                <a:lnTo>
                  <a:pt x="2338" y="288"/>
                </a:lnTo>
                <a:lnTo>
                  <a:pt x="2439" y="288"/>
                </a:lnTo>
                <a:lnTo>
                  <a:pt x="2439" y="240"/>
                </a:lnTo>
                <a:lnTo>
                  <a:pt x="2284" y="240"/>
                </a:lnTo>
                <a:lnTo>
                  <a:pt x="2284" y="457"/>
                </a:lnTo>
                <a:close/>
                <a:moveTo>
                  <a:pt x="2035" y="349"/>
                </a:moveTo>
                <a:lnTo>
                  <a:pt x="2035" y="349"/>
                </a:lnTo>
                <a:lnTo>
                  <a:pt x="2035" y="336"/>
                </a:lnTo>
                <a:lnTo>
                  <a:pt x="2038" y="324"/>
                </a:lnTo>
                <a:lnTo>
                  <a:pt x="2040" y="313"/>
                </a:lnTo>
                <a:lnTo>
                  <a:pt x="2043" y="303"/>
                </a:lnTo>
                <a:lnTo>
                  <a:pt x="2047" y="292"/>
                </a:lnTo>
                <a:lnTo>
                  <a:pt x="2052" y="282"/>
                </a:lnTo>
                <a:lnTo>
                  <a:pt x="2057" y="274"/>
                </a:lnTo>
                <a:lnTo>
                  <a:pt x="2064" y="266"/>
                </a:lnTo>
                <a:lnTo>
                  <a:pt x="2071" y="259"/>
                </a:lnTo>
                <a:lnTo>
                  <a:pt x="2079" y="252"/>
                </a:lnTo>
                <a:lnTo>
                  <a:pt x="2088" y="247"/>
                </a:lnTo>
                <a:lnTo>
                  <a:pt x="2098" y="243"/>
                </a:lnTo>
                <a:lnTo>
                  <a:pt x="2107" y="238"/>
                </a:lnTo>
                <a:lnTo>
                  <a:pt x="2118" y="236"/>
                </a:lnTo>
                <a:lnTo>
                  <a:pt x="2130" y="234"/>
                </a:lnTo>
                <a:lnTo>
                  <a:pt x="2142" y="234"/>
                </a:lnTo>
                <a:lnTo>
                  <a:pt x="2160" y="235"/>
                </a:lnTo>
                <a:lnTo>
                  <a:pt x="2168" y="236"/>
                </a:lnTo>
                <a:lnTo>
                  <a:pt x="2176" y="238"/>
                </a:lnTo>
                <a:lnTo>
                  <a:pt x="2184" y="242"/>
                </a:lnTo>
                <a:lnTo>
                  <a:pt x="2191" y="245"/>
                </a:lnTo>
                <a:lnTo>
                  <a:pt x="2199" y="248"/>
                </a:lnTo>
                <a:lnTo>
                  <a:pt x="2205" y="252"/>
                </a:lnTo>
                <a:lnTo>
                  <a:pt x="2210" y="258"/>
                </a:lnTo>
                <a:lnTo>
                  <a:pt x="2216" y="263"/>
                </a:lnTo>
                <a:lnTo>
                  <a:pt x="2221" y="269"/>
                </a:lnTo>
                <a:lnTo>
                  <a:pt x="2226" y="276"/>
                </a:lnTo>
                <a:lnTo>
                  <a:pt x="2230" y="283"/>
                </a:lnTo>
                <a:lnTo>
                  <a:pt x="2233" y="291"/>
                </a:lnTo>
                <a:lnTo>
                  <a:pt x="2235" y="300"/>
                </a:lnTo>
                <a:lnTo>
                  <a:pt x="2237" y="308"/>
                </a:lnTo>
                <a:lnTo>
                  <a:pt x="2179" y="308"/>
                </a:lnTo>
                <a:lnTo>
                  <a:pt x="2177" y="301"/>
                </a:lnTo>
                <a:lnTo>
                  <a:pt x="2174" y="295"/>
                </a:lnTo>
                <a:lnTo>
                  <a:pt x="2170" y="291"/>
                </a:lnTo>
                <a:lnTo>
                  <a:pt x="2165" y="287"/>
                </a:lnTo>
                <a:lnTo>
                  <a:pt x="2160" y="285"/>
                </a:lnTo>
                <a:lnTo>
                  <a:pt x="2155" y="282"/>
                </a:lnTo>
                <a:lnTo>
                  <a:pt x="2149" y="282"/>
                </a:lnTo>
                <a:lnTo>
                  <a:pt x="2143" y="281"/>
                </a:lnTo>
                <a:lnTo>
                  <a:pt x="2136" y="282"/>
                </a:lnTo>
                <a:lnTo>
                  <a:pt x="2131" y="283"/>
                </a:lnTo>
                <a:lnTo>
                  <a:pt x="2126" y="285"/>
                </a:lnTo>
                <a:lnTo>
                  <a:pt x="2121" y="287"/>
                </a:lnTo>
                <a:lnTo>
                  <a:pt x="2117" y="290"/>
                </a:lnTo>
                <a:lnTo>
                  <a:pt x="2113" y="293"/>
                </a:lnTo>
                <a:lnTo>
                  <a:pt x="2105" y="302"/>
                </a:lnTo>
                <a:lnTo>
                  <a:pt x="2100" y="311"/>
                </a:lnTo>
                <a:lnTo>
                  <a:pt x="2097" y="322"/>
                </a:lnTo>
                <a:lnTo>
                  <a:pt x="2094" y="335"/>
                </a:lnTo>
                <a:lnTo>
                  <a:pt x="2093" y="349"/>
                </a:lnTo>
                <a:lnTo>
                  <a:pt x="2094" y="363"/>
                </a:lnTo>
                <a:lnTo>
                  <a:pt x="2097" y="376"/>
                </a:lnTo>
                <a:lnTo>
                  <a:pt x="2101" y="388"/>
                </a:lnTo>
                <a:lnTo>
                  <a:pt x="2106" y="397"/>
                </a:lnTo>
                <a:lnTo>
                  <a:pt x="2114" y="406"/>
                </a:lnTo>
                <a:lnTo>
                  <a:pt x="2118" y="409"/>
                </a:lnTo>
                <a:lnTo>
                  <a:pt x="2122" y="412"/>
                </a:lnTo>
                <a:lnTo>
                  <a:pt x="2128" y="414"/>
                </a:lnTo>
                <a:lnTo>
                  <a:pt x="2133" y="417"/>
                </a:lnTo>
                <a:lnTo>
                  <a:pt x="2140" y="417"/>
                </a:lnTo>
                <a:lnTo>
                  <a:pt x="2146" y="418"/>
                </a:lnTo>
                <a:lnTo>
                  <a:pt x="2157" y="417"/>
                </a:lnTo>
                <a:lnTo>
                  <a:pt x="2166" y="414"/>
                </a:lnTo>
                <a:lnTo>
                  <a:pt x="2175" y="411"/>
                </a:lnTo>
                <a:lnTo>
                  <a:pt x="2183" y="407"/>
                </a:lnTo>
                <a:lnTo>
                  <a:pt x="2183" y="379"/>
                </a:lnTo>
                <a:lnTo>
                  <a:pt x="2144" y="379"/>
                </a:lnTo>
                <a:lnTo>
                  <a:pt x="2144" y="336"/>
                </a:lnTo>
                <a:lnTo>
                  <a:pt x="2237" y="336"/>
                </a:lnTo>
                <a:lnTo>
                  <a:pt x="2237" y="434"/>
                </a:lnTo>
                <a:lnTo>
                  <a:pt x="2227" y="441"/>
                </a:lnTo>
                <a:lnTo>
                  <a:pt x="2216" y="448"/>
                </a:lnTo>
                <a:lnTo>
                  <a:pt x="2204" y="453"/>
                </a:lnTo>
                <a:lnTo>
                  <a:pt x="2192" y="457"/>
                </a:lnTo>
                <a:lnTo>
                  <a:pt x="2181" y="461"/>
                </a:lnTo>
                <a:lnTo>
                  <a:pt x="2170" y="464"/>
                </a:lnTo>
                <a:lnTo>
                  <a:pt x="2159" y="465"/>
                </a:lnTo>
                <a:lnTo>
                  <a:pt x="2149" y="465"/>
                </a:lnTo>
                <a:lnTo>
                  <a:pt x="2136" y="465"/>
                </a:lnTo>
                <a:lnTo>
                  <a:pt x="2123" y="463"/>
                </a:lnTo>
                <a:lnTo>
                  <a:pt x="2112" y="461"/>
                </a:lnTo>
                <a:lnTo>
                  <a:pt x="2101" y="457"/>
                </a:lnTo>
                <a:lnTo>
                  <a:pt x="2090" y="453"/>
                </a:lnTo>
                <a:lnTo>
                  <a:pt x="2082" y="448"/>
                </a:lnTo>
                <a:lnTo>
                  <a:pt x="2073" y="441"/>
                </a:lnTo>
                <a:lnTo>
                  <a:pt x="2064" y="435"/>
                </a:lnTo>
                <a:lnTo>
                  <a:pt x="2058" y="426"/>
                </a:lnTo>
                <a:lnTo>
                  <a:pt x="2052" y="418"/>
                </a:lnTo>
                <a:lnTo>
                  <a:pt x="2047" y="408"/>
                </a:lnTo>
                <a:lnTo>
                  <a:pt x="2043" y="398"/>
                </a:lnTo>
                <a:lnTo>
                  <a:pt x="2040" y="387"/>
                </a:lnTo>
                <a:lnTo>
                  <a:pt x="2038" y="375"/>
                </a:lnTo>
                <a:lnTo>
                  <a:pt x="2035" y="362"/>
                </a:lnTo>
                <a:lnTo>
                  <a:pt x="2035" y="349"/>
                </a:lnTo>
                <a:close/>
                <a:moveTo>
                  <a:pt x="1883" y="380"/>
                </a:moveTo>
                <a:lnTo>
                  <a:pt x="1911" y="297"/>
                </a:lnTo>
                <a:lnTo>
                  <a:pt x="1940" y="380"/>
                </a:lnTo>
                <a:lnTo>
                  <a:pt x="1883" y="380"/>
                </a:lnTo>
                <a:close/>
                <a:moveTo>
                  <a:pt x="1798" y="457"/>
                </a:moveTo>
                <a:lnTo>
                  <a:pt x="1857" y="457"/>
                </a:lnTo>
                <a:lnTo>
                  <a:pt x="1868" y="425"/>
                </a:lnTo>
                <a:lnTo>
                  <a:pt x="1955" y="425"/>
                </a:lnTo>
                <a:lnTo>
                  <a:pt x="1966" y="457"/>
                </a:lnTo>
                <a:lnTo>
                  <a:pt x="2025" y="457"/>
                </a:lnTo>
                <a:lnTo>
                  <a:pt x="1942" y="240"/>
                </a:lnTo>
                <a:lnTo>
                  <a:pt x="1880" y="240"/>
                </a:lnTo>
                <a:lnTo>
                  <a:pt x="1798" y="457"/>
                </a:lnTo>
                <a:close/>
                <a:moveTo>
                  <a:pt x="1580" y="457"/>
                </a:moveTo>
                <a:lnTo>
                  <a:pt x="1634" y="457"/>
                </a:lnTo>
                <a:lnTo>
                  <a:pt x="1634" y="327"/>
                </a:lnTo>
                <a:lnTo>
                  <a:pt x="1710" y="457"/>
                </a:lnTo>
                <a:lnTo>
                  <a:pt x="1770" y="457"/>
                </a:lnTo>
                <a:lnTo>
                  <a:pt x="1770" y="240"/>
                </a:lnTo>
                <a:lnTo>
                  <a:pt x="1716" y="240"/>
                </a:lnTo>
                <a:lnTo>
                  <a:pt x="1716" y="368"/>
                </a:lnTo>
                <a:lnTo>
                  <a:pt x="1638" y="240"/>
                </a:lnTo>
                <a:lnTo>
                  <a:pt x="1580" y="240"/>
                </a:lnTo>
                <a:lnTo>
                  <a:pt x="1580" y="457"/>
                </a:lnTo>
                <a:close/>
                <a:moveTo>
                  <a:pt x="1334" y="370"/>
                </a:moveTo>
                <a:lnTo>
                  <a:pt x="1334" y="342"/>
                </a:lnTo>
                <a:lnTo>
                  <a:pt x="1421" y="342"/>
                </a:lnTo>
                <a:lnTo>
                  <a:pt x="1421" y="254"/>
                </a:lnTo>
                <a:lnTo>
                  <a:pt x="1453" y="254"/>
                </a:lnTo>
                <a:lnTo>
                  <a:pt x="1453" y="342"/>
                </a:lnTo>
                <a:lnTo>
                  <a:pt x="1541" y="342"/>
                </a:lnTo>
                <a:lnTo>
                  <a:pt x="1541" y="370"/>
                </a:lnTo>
                <a:lnTo>
                  <a:pt x="1453" y="370"/>
                </a:lnTo>
                <a:lnTo>
                  <a:pt x="1453" y="457"/>
                </a:lnTo>
                <a:lnTo>
                  <a:pt x="1421" y="457"/>
                </a:lnTo>
                <a:lnTo>
                  <a:pt x="1421" y="370"/>
                </a:lnTo>
                <a:lnTo>
                  <a:pt x="1334" y="370"/>
                </a:lnTo>
                <a:close/>
                <a:moveTo>
                  <a:pt x="1147" y="457"/>
                </a:moveTo>
                <a:lnTo>
                  <a:pt x="1308" y="457"/>
                </a:lnTo>
                <a:lnTo>
                  <a:pt x="1308" y="408"/>
                </a:lnTo>
                <a:lnTo>
                  <a:pt x="1202" y="408"/>
                </a:lnTo>
                <a:lnTo>
                  <a:pt x="1202" y="370"/>
                </a:lnTo>
                <a:lnTo>
                  <a:pt x="1290" y="370"/>
                </a:lnTo>
                <a:lnTo>
                  <a:pt x="1290" y="325"/>
                </a:lnTo>
                <a:lnTo>
                  <a:pt x="1202" y="325"/>
                </a:lnTo>
                <a:lnTo>
                  <a:pt x="1202" y="288"/>
                </a:lnTo>
                <a:lnTo>
                  <a:pt x="1303" y="288"/>
                </a:lnTo>
                <a:lnTo>
                  <a:pt x="1303" y="240"/>
                </a:lnTo>
                <a:lnTo>
                  <a:pt x="1147" y="240"/>
                </a:lnTo>
                <a:lnTo>
                  <a:pt x="1147" y="457"/>
                </a:lnTo>
                <a:close/>
                <a:moveTo>
                  <a:pt x="904" y="457"/>
                </a:moveTo>
                <a:lnTo>
                  <a:pt x="958" y="457"/>
                </a:lnTo>
                <a:lnTo>
                  <a:pt x="958" y="327"/>
                </a:lnTo>
                <a:lnTo>
                  <a:pt x="1034" y="457"/>
                </a:lnTo>
                <a:lnTo>
                  <a:pt x="1096" y="457"/>
                </a:lnTo>
                <a:lnTo>
                  <a:pt x="1096" y="240"/>
                </a:lnTo>
                <a:lnTo>
                  <a:pt x="1041" y="240"/>
                </a:lnTo>
                <a:lnTo>
                  <a:pt x="1041" y="368"/>
                </a:lnTo>
                <a:lnTo>
                  <a:pt x="963" y="240"/>
                </a:lnTo>
                <a:lnTo>
                  <a:pt x="904" y="240"/>
                </a:lnTo>
                <a:lnTo>
                  <a:pt x="904" y="457"/>
                </a:lnTo>
                <a:close/>
                <a:moveTo>
                  <a:pt x="659" y="457"/>
                </a:moveTo>
                <a:lnTo>
                  <a:pt x="716" y="457"/>
                </a:lnTo>
                <a:lnTo>
                  <a:pt x="716" y="374"/>
                </a:lnTo>
                <a:lnTo>
                  <a:pt x="795" y="374"/>
                </a:lnTo>
                <a:lnTo>
                  <a:pt x="795" y="457"/>
                </a:lnTo>
                <a:lnTo>
                  <a:pt x="853" y="457"/>
                </a:lnTo>
                <a:lnTo>
                  <a:pt x="853" y="240"/>
                </a:lnTo>
                <a:lnTo>
                  <a:pt x="795" y="240"/>
                </a:lnTo>
                <a:lnTo>
                  <a:pt x="795" y="322"/>
                </a:lnTo>
                <a:lnTo>
                  <a:pt x="716" y="322"/>
                </a:lnTo>
                <a:lnTo>
                  <a:pt x="716" y="240"/>
                </a:lnTo>
                <a:lnTo>
                  <a:pt x="659" y="240"/>
                </a:lnTo>
                <a:lnTo>
                  <a:pt x="659" y="457"/>
                </a:lnTo>
                <a:close/>
                <a:moveTo>
                  <a:pt x="454" y="457"/>
                </a:moveTo>
                <a:lnTo>
                  <a:pt x="615" y="457"/>
                </a:lnTo>
                <a:lnTo>
                  <a:pt x="615" y="408"/>
                </a:lnTo>
                <a:lnTo>
                  <a:pt x="509" y="408"/>
                </a:lnTo>
                <a:lnTo>
                  <a:pt x="509" y="370"/>
                </a:lnTo>
                <a:lnTo>
                  <a:pt x="597" y="370"/>
                </a:lnTo>
                <a:lnTo>
                  <a:pt x="597" y="325"/>
                </a:lnTo>
                <a:lnTo>
                  <a:pt x="509" y="325"/>
                </a:lnTo>
                <a:lnTo>
                  <a:pt x="509" y="288"/>
                </a:lnTo>
                <a:lnTo>
                  <a:pt x="610" y="288"/>
                </a:lnTo>
                <a:lnTo>
                  <a:pt x="610" y="240"/>
                </a:lnTo>
                <a:lnTo>
                  <a:pt x="454" y="240"/>
                </a:lnTo>
                <a:lnTo>
                  <a:pt x="454" y="457"/>
                </a:lnTo>
                <a:close/>
                <a:moveTo>
                  <a:pt x="215" y="368"/>
                </a:moveTo>
                <a:lnTo>
                  <a:pt x="215" y="368"/>
                </a:lnTo>
                <a:lnTo>
                  <a:pt x="215" y="381"/>
                </a:lnTo>
                <a:lnTo>
                  <a:pt x="217" y="393"/>
                </a:lnTo>
                <a:lnTo>
                  <a:pt x="219" y="404"/>
                </a:lnTo>
                <a:lnTo>
                  <a:pt x="222" y="413"/>
                </a:lnTo>
                <a:lnTo>
                  <a:pt x="227" y="422"/>
                </a:lnTo>
                <a:lnTo>
                  <a:pt x="231" y="429"/>
                </a:lnTo>
                <a:lnTo>
                  <a:pt x="237" y="437"/>
                </a:lnTo>
                <a:lnTo>
                  <a:pt x="243" y="443"/>
                </a:lnTo>
                <a:lnTo>
                  <a:pt x="250" y="449"/>
                </a:lnTo>
                <a:lnTo>
                  <a:pt x="258" y="453"/>
                </a:lnTo>
                <a:lnTo>
                  <a:pt x="265" y="456"/>
                </a:lnTo>
                <a:lnTo>
                  <a:pt x="274" y="460"/>
                </a:lnTo>
                <a:lnTo>
                  <a:pt x="282" y="463"/>
                </a:lnTo>
                <a:lnTo>
                  <a:pt x="291" y="464"/>
                </a:lnTo>
                <a:lnTo>
                  <a:pt x="301" y="465"/>
                </a:lnTo>
                <a:lnTo>
                  <a:pt x="310" y="465"/>
                </a:lnTo>
                <a:lnTo>
                  <a:pt x="319" y="465"/>
                </a:lnTo>
                <a:lnTo>
                  <a:pt x="329" y="464"/>
                </a:lnTo>
                <a:lnTo>
                  <a:pt x="337" y="463"/>
                </a:lnTo>
                <a:lnTo>
                  <a:pt x="346" y="460"/>
                </a:lnTo>
                <a:lnTo>
                  <a:pt x="354" y="456"/>
                </a:lnTo>
                <a:lnTo>
                  <a:pt x="362" y="453"/>
                </a:lnTo>
                <a:lnTo>
                  <a:pt x="369" y="449"/>
                </a:lnTo>
                <a:lnTo>
                  <a:pt x="376" y="443"/>
                </a:lnTo>
                <a:lnTo>
                  <a:pt x="382" y="437"/>
                </a:lnTo>
                <a:lnTo>
                  <a:pt x="388" y="429"/>
                </a:lnTo>
                <a:lnTo>
                  <a:pt x="393" y="422"/>
                </a:lnTo>
                <a:lnTo>
                  <a:pt x="396" y="413"/>
                </a:lnTo>
                <a:lnTo>
                  <a:pt x="401" y="404"/>
                </a:lnTo>
                <a:lnTo>
                  <a:pt x="403" y="393"/>
                </a:lnTo>
                <a:lnTo>
                  <a:pt x="404" y="381"/>
                </a:lnTo>
                <a:lnTo>
                  <a:pt x="405" y="368"/>
                </a:lnTo>
                <a:lnTo>
                  <a:pt x="405" y="240"/>
                </a:lnTo>
                <a:lnTo>
                  <a:pt x="346" y="240"/>
                </a:lnTo>
                <a:lnTo>
                  <a:pt x="346" y="377"/>
                </a:lnTo>
                <a:lnTo>
                  <a:pt x="345" y="385"/>
                </a:lnTo>
                <a:lnTo>
                  <a:pt x="344" y="394"/>
                </a:lnTo>
                <a:lnTo>
                  <a:pt x="340" y="400"/>
                </a:lnTo>
                <a:lnTo>
                  <a:pt x="337" y="406"/>
                </a:lnTo>
                <a:lnTo>
                  <a:pt x="332" y="410"/>
                </a:lnTo>
                <a:lnTo>
                  <a:pt x="325" y="413"/>
                </a:lnTo>
                <a:lnTo>
                  <a:pt x="318" y="415"/>
                </a:lnTo>
                <a:lnTo>
                  <a:pt x="310" y="415"/>
                </a:lnTo>
                <a:lnTo>
                  <a:pt x="302" y="415"/>
                </a:lnTo>
                <a:lnTo>
                  <a:pt x="294" y="413"/>
                </a:lnTo>
                <a:lnTo>
                  <a:pt x="288" y="410"/>
                </a:lnTo>
                <a:lnTo>
                  <a:pt x="282" y="406"/>
                </a:lnTo>
                <a:lnTo>
                  <a:pt x="278" y="400"/>
                </a:lnTo>
                <a:lnTo>
                  <a:pt x="276" y="394"/>
                </a:lnTo>
                <a:lnTo>
                  <a:pt x="274" y="385"/>
                </a:lnTo>
                <a:lnTo>
                  <a:pt x="274" y="377"/>
                </a:lnTo>
                <a:lnTo>
                  <a:pt x="274" y="240"/>
                </a:lnTo>
                <a:lnTo>
                  <a:pt x="215" y="240"/>
                </a:lnTo>
                <a:lnTo>
                  <a:pt x="215" y="368"/>
                </a:lnTo>
                <a:close/>
                <a:moveTo>
                  <a:pt x="0" y="457"/>
                </a:moveTo>
                <a:lnTo>
                  <a:pt x="58" y="457"/>
                </a:lnTo>
                <a:lnTo>
                  <a:pt x="58" y="396"/>
                </a:lnTo>
                <a:lnTo>
                  <a:pt x="77" y="371"/>
                </a:lnTo>
                <a:lnTo>
                  <a:pt x="127" y="457"/>
                </a:lnTo>
                <a:lnTo>
                  <a:pt x="194" y="457"/>
                </a:lnTo>
                <a:lnTo>
                  <a:pt x="116" y="330"/>
                </a:lnTo>
                <a:lnTo>
                  <a:pt x="186" y="240"/>
                </a:lnTo>
                <a:lnTo>
                  <a:pt x="118" y="240"/>
                </a:lnTo>
                <a:lnTo>
                  <a:pt x="58" y="318"/>
                </a:lnTo>
                <a:lnTo>
                  <a:pt x="58" y="240"/>
                </a:lnTo>
                <a:lnTo>
                  <a:pt x="0" y="240"/>
                </a:lnTo>
                <a:lnTo>
                  <a:pt x="0" y="457"/>
                </a:lnTo>
                <a:close/>
              </a:path>
            </a:pathLst>
          </a:custGeom>
          <a:solidFill>
            <a:srgbClr val="1D3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29" name="Textplatzhalter 7">
            <a:extLst>
              <a:ext uri="{FF2B5EF4-FFF2-40B4-BE49-F238E27FC236}">
                <a16:creationId xmlns:a16="http://schemas.microsoft.com/office/drawing/2014/main" id="{972B8CDE-AEB2-2ECC-989B-89E9466305D4}"/>
              </a:ext>
            </a:extLst>
          </p:cNvPr>
          <p:cNvSpPr>
            <a:spLocks noGrp="1" noChangeArrowheads="1"/>
          </p:cNvSpPr>
          <p:nvPr>
            <p:ph type="body" idx="1"/>
          </p:nvPr>
        </p:nvSpPr>
        <p:spPr bwMode="auto">
          <a:xfrm>
            <a:off x="550863" y="2005013"/>
            <a:ext cx="11090275" cy="43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nter text</a:t>
            </a:r>
          </a:p>
          <a:p>
            <a:pPr lvl="1"/>
            <a:r>
              <a:rPr lang="en-GB" altLang="en-US"/>
              <a:t>Level one bullet</a:t>
            </a:r>
          </a:p>
          <a:p>
            <a:pPr lvl="2"/>
            <a:r>
              <a:rPr lang="en-GB" altLang="en-US"/>
              <a:t>Level two bullet</a:t>
            </a:r>
          </a:p>
          <a:p>
            <a:pPr lvl="3"/>
            <a:r>
              <a:rPr lang="en-GB" altLang="en-US"/>
              <a:t>Level three bullet</a:t>
            </a:r>
          </a:p>
          <a:p>
            <a:pPr lvl="4"/>
            <a:r>
              <a:rPr lang="en-GB" altLang="en-US"/>
              <a:t>Level four</a:t>
            </a:r>
          </a:p>
          <a:p>
            <a:pPr lvl="4"/>
            <a:r>
              <a:rPr lang="en-GB" altLang="en-US"/>
              <a:t>Level five</a:t>
            </a:r>
          </a:p>
          <a:p>
            <a:pPr lvl="4"/>
            <a:r>
              <a:rPr lang="en-GB" altLang="en-US"/>
              <a:t>Level six</a:t>
            </a:r>
          </a:p>
          <a:p>
            <a:pPr lvl="4"/>
            <a:r>
              <a:rPr lang="en-GB" altLang="en-US"/>
              <a:t>Level seven</a:t>
            </a:r>
          </a:p>
          <a:p>
            <a:pPr lvl="4"/>
            <a:r>
              <a:rPr lang="en-GB" altLang="en-US"/>
              <a:t>Level eight</a:t>
            </a:r>
          </a:p>
          <a:p>
            <a:pPr lvl="4"/>
            <a:r>
              <a:rPr lang="en-GB" altLang="en-US"/>
              <a:t>Level nine </a:t>
            </a:r>
          </a:p>
        </p:txBody>
      </p:sp>
      <p:sp>
        <p:nvSpPr>
          <p:cNvPr id="3" name="empower - DO NOT DELETE!!!" hidden="1">
            <a:extLst>
              <a:ext uri="{FF2B5EF4-FFF2-40B4-BE49-F238E27FC236}">
                <a16:creationId xmlns:a16="http://schemas.microsoft.com/office/drawing/2014/main" id="{4A9A1CB2-D124-67CE-389A-660C2DC9F506}"/>
              </a:ext>
            </a:extLst>
          </p:cNvPr>
          <p:cNvSpPr/>
          <p:nvPr userDrawn="1">
            <p:custDataLst>
              <p:tags r:id="rId70"/>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US"/>
          </a:p>
        </p:txBody>
      </p:sp>
    </p:spTree>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57" r:id="rId23"/>
    <p:sldLayoutId id="2147483881" r:id="rId24"/>
    <p:sldLayoutId id="2147483858" r:id="rId25"/>
    <p:sldLayoutId id="2147483882" r:id="rId26"/>
    <p:sldLayoutId id="2147483883" r:id="rId27"/>
    <p:sldLayoutId id="2147483884" r:id="rId28"/>
    <p:sldLayoutId id="2147483885" r:id="rId29"/>
    <p:sldLayoutId id="2147483886" r:id="rId30"/>
    <p:sldLayoutId id="2147483887" r:id="rId31"/>
    <p:sldLayoutId id="2147483888" r:id="rId32"/>
    <p:sldLayoutId id="2147483889" r:id="rId33"/>
    <p:sldLayoutId id="2147483890" r:id="rId34"/>
    <p:sldLayoutId id="2147483891" r:id="rId35"/>
    <p:sldLayoutId id="2147483892" r:id="rId36"/>
    <p:sldLayoutId id="2147483893" r:id="rId37"/>
    <p:sldLayoutId id="2147483894" r:id="rId38"/>
    <p:sldLayoutId id="2147483895" r:id="rId39"/>
    <p:sldLayoutId id="2147483896" r:id="rId40"/>
    <p:sldLayoutId id="2147483897" r:id="rId41"/>
    <p:sldLayoutId id="2147483898" r:id="rId42"/>
    <p:sldLayoutId id="2147483899" r:id="rId43"/>
    <p:sldLayoutId id="2147483900" r:id="rId44"/>
    <p:sldLayoutId id="2147483901" r:id="rId45"/>
    <p:sldLayoutId id="2147483902" r:id="rId46"/>
    <p:sldLayoutId id="2147483903" r:id="rId47"/>
    <p:sldLayoutId id="2147483904" r:id="rId48"/>
    <p:sldLayoutId id="2147483905" r:id="rId49"/>
    <p:sldLayoutId id="2147483906" r:id="rId50"/>
    <p:sldLayoutId id="2147483907" r:id="rId51"/>
    <p:sldLayoutId id="2147483908" r:id="rId52"/>
    <p:sldLayoutId id="2147483909" r:id="rId53"/>
    <p:sldLayoutId id="2147483910" r:id="rId54"/>
    <p:sldLayoutId id="2147483911" r:id="rId55"/>
    <p:sldLayoutId id="2147483912" r:id="rId56"/>
    <p:sldLayoutId id="2147483913" r:id="rId57"/>
    <p:sldLayoutId id="2147483914" r:id="rId58"/>
    <p:sldLayoutId id="2147483915" r:id="rId59"/>
    <p:sldLayoutId id="2147483916" r:id="rId60"/>
    <p:sldLayoutId id="2147483917" r:id="rId61"/>
    <p:sldLayoutId id="2147483918" r:id="rId62"/>
    <p:sldLayoutId id="2147483919" r:id="rId63"/>
    <p:sldLayoutId id="2147483920" r:id="rId64"/>
    <p:sldLayoutId id="2147483921" r:id="rId65"/>
    <p:sldLayoutId id="2147483922" r:id="rId66"/>
    <p:sldLayoutId id="2147483923" r:id="rId67"/>
    <p:sldLayoutId id="2147483924" r:id="rId68"/>
  </p:sldLayoutIdLst>
  <p:transition spd="med">
    <p:fade/>
  </p:transition>
  <p:hf sldNum="0" hdr="0" ftr="0" dt="0"/>
  <p:txStyles>
    <p:titleStyle>
      <a:lvl1pPr algn="l" defTabSz="912813" rtl="0" fontAlgn="base">
        <a:spcBef>
          <a:spcPct val="0"/>
        </a:spcBef>
        <a:spcAft>
          <a:spcPts val="300"/>
        </a:spcAft>
        <a:defRPr sz="2400" b="1" kern="1200">
          <a:solidFill>
            <a:schemeClr val="tx1"/>
          </a:solidFill>
          <a:latin typeface="+mj-lt"/>
          <a:ea typeface="+mj-ea"/>
          <a:cs typeface="+mj-cs"/>
        </a:defRPr>
      </a:lvl1pPr>
      <a:lvl2pPr algn="l" defTabSz="912813" rtl="0" fontAlgn="base">
        <a:spcBef>
          <a:spcPct val="0"/>
        </a:spcBef>
        <a:spcAft>
          <a:spcPts val="300"/>
        </a:spcAft>
        <a:defRPr sz="2400" b="1">
          <a:solidFill>
            <a:schemeClr val="tx1"/>
          </a:solidFill>
          <a:latin typeface="Arial" panose="020B0604020202020204" pitchFamily="34" charset="0"/>
        </a:defRPr>
      </a:lvl2pPr>
      <a:lvl3pPr algn="l" defTabSz="912813" rtl="0" fontAlgn="base">
        <a:spcBef>
          <a:spcPct val="0"/>
        </a:spcBef>
        <a:spcAft>
          <a:spcPts val="300"/>
        </a:spcAft>
        <a:defRPr sz="2400" b="1">
          <a:solidFill>
            <a:schemeClr val="tx1"/>
          </a:solidFill>
          <a:latin typeface="Arial" panose="020B0604020202020204" pitchFamily="34" charset="0"/>
        </a:defRPr>
      </a:lvl3pPr>
      <a:lvl4pPr algn="l" defTabSz="912813" rtl="0" fontAlgn="base">
        <a:spcBef>
          <a:spcPct val="0"/>
        </a:spcBef>
        <a:spcAft>
          <a:spcPts val="300"/>
        </a:spcAft>
        <a:defRPr sz="2400" b="1">
          <a:solidFill>
            <a:schemeClr val="tx1"/>
          </a:solidFill>
          <a:latin typeface="Arial" panose="020B0604020202020204" pitchFamily="34" charset="0"/>
        </a:defRPr>
      </a:lvl4pPr>
      <a:lvl5pPr algn="l" defTabSz="912813" rtl="0" fontAlgn="base">
        <a:spcBef>
          <a:spcPct val="0"/>
        </a:spcBef>
        <a:spcAft>
          <a:spcPts val="300"/>
        </a:spcAft>
        <a:defRPr sz="2400" b="1">
          <a:solidFill>
            <a:schemeClr val="tx1"/>
          </a:solidFill>
          <a:latin typeface="Arial" panose="020B0604020202020204" pitchFamily="34" charset="0"/>
        </a:defRPr>
      </a:lvl5pPr>
      <a:lvl6pPr marL="457200" algn="l" defTabSz="912813" rtl="0" fontAlgn="base">
        <a:spcBef>
          <a:spcPct val="0"/>
        </a:spcBef>
        <a:spcAft>
          <a:spcPts val="300"/>
        </a:spcAft>
        <a:defRPr sz="2400" b="1">
          <a:solidFill>
            <a:schemeClr val="tx1"/>
          </a:solidFill>
          <a:latin typeface="Arial" panose="020B0604020202020204" pitchFamily="34" charset="0"/>
        </a:defRPr>
      </a:lvl6pPr>
      <a:lvl7pPr marL="914400" algn="l" defTabSz="912813" rtl="0" fontAlgn="base">
        <a:spcBef>
          <a:spcPct val="0"/>
        </a:spcBef>
        <a:spcAft>
          <a:spcPts val="300"/>
        </a:spcAft>
        <a:defRPr sz="2400" b="1">
          <a:solidFill>
            <a:schemeClr val="tx1"/>
          </a:solidFill>
          <a:latin typeface="Arial" panose="020B0604020202020204" pitchFamily="34" charset="0"/>
        </a:defRPr>
      </a:lvl7pPr>
      <a:lvl8pPr marL="1371600" algn="l" defTabSz="912813" rtl="0" fontAlgn="base">
        <a:spcBef>
          <a:spcPct val="0"/>
        </a:spcBef>
        <a:spcAft>
          <a:spcPts val="300"/>
        </a:spcAft>
        <a:defRPr sz="2400" b="1">
          <a:solidFill>
            <a:schemeClr val="tx1"/>
          </a:solidFill>
          <a:latin typeface="Arial" panose="020B0604020202020204" pitchFamily="34" charset="0"/>
        </a:defRPr>
      </a:lvl8pPr>
      <a:lvl9pPr marL="1828800" algn="l" defTabSz="912813" rtl="0" fontAlgn="base">
        <a:spcBef>
          <a:spcPct val="0"/>
        </a:spcBef>
        <a:spcAft>
          <a:spcPts val="300"/>
        </a:spcAft>
        <a:defRPr sz="2400" b="1">
          <a:solidFill>
            <a:schemeClr val="tx1"/>
          </a:solidFill>
          <a:latin typeface="Arial" panose="020B0604020202020204" pitchFamily="34" charset="0"/>
        </a:defRPr>
      </a:lvl9pPr>
    </p:titleStyle>
    <p:bodyStyle>
      <a:lvl1pPr algn="l" defTabSz="912813" rtl="0" fontAlgn="base">
        <a:spcBef>
          <a:spcPct val="0"/>
        </a:spcBef>
        <a:spcAft>
          <a:spcPts val="600"/>
        </a:spcAft>
        <a:defRPr kern="1200">
          <a:solidFill>
            <a:schemeClr val="tx2"/>
          </a:solidFill>
          <a:latin typeface="+mn-lt"/>
          <a:ea typeface="+mn-ea"/>
          <a:cs typeface="+mn-cs"/>
        </a:defRPr>
      </a:lvl1pPr>
      <a:lvl2pPr marL="284163" indent="-284163" algn="l" defTabSz="912813" rtl="0" fontAlgn="base">
        <a:spcBef>
          <a:spcPct val="0"/>
        </a:spcBef>
        <a:spcAft>
          <a:spcPts val="600"/>
        </a:spcAft>
        <a:buFont typeface="Wingdings" panose="05000000000000000000" pitchFamily="2" charset="2"/>
        <a:buChar char="§"/>
        <a:defRPr b="1" kern="1200">
          <a:solidFill>
            <a:schemeClr val="tx2"/>
          </a:solidFill>
          <a:latin typeface="+mn-lt"/>
          <a:ea typeface="+mn-ea"/>
          <a:cs typeface="+mn-cs"/>
        </a:defRPr>
      </a:lvl2pPr>
      <a:lvl3pPr marL="733425" indent="-284163" algn="l" defTabSz="912813" rtl="0" fontAlgn="base">
        <a:spcBef>
          <a:spcPct val="0"/>
        </a:spcBef>
        <a:spcAft>
          <a:spcPts val="600"/>
        </a:spcAft>
        <a:buFont typeface="Arial" panose="020B0604020202020204" pitchFamily="34" charset="0"/>
        <a:buChar char="•"/>
        <a:defRPr kern="1200">
          <a:solidFill>
            <a:schemeClr val="tx2"/>
          </a:solidFill>
          <a:latin typeface="+mn-lt"/>
          <a:ea typeface="+mn-ea"/>
          <a:cs typeface="+mn-cs"/>
        </a:defRPr>
      </a:lvl3pPr>
      <a:lvl4pPr marL="1198563" indent="-284163" algn="l" defTabSz="912813" rtl="0" fontAlgn="base">
        <a:spcBef>
          <a:spcPct val="0"/>
        </a:spcBef>
        <a:spcAft>
          <a:spcPts val="600"/>
        </a:spcAft>
        <a:buFont typeface="Symbol" panose="05050102010706020507" pitchFamily="18" charset="2"/>
        <a:buChar char="-"/>
        <a:defRPr kern="1200">
          <a:solidFill>
            <a:schemeClr val="tx2"/>
          </a:solidFill>
          <a:latin typeface="+mn-lt"/>
          <a:ea typeface="+mn-ea"/>
          <a:cs typeface="+mn-cs"/>
        </a:defRPr>
      </a:lvl4pPr>
      <a:lvl5pPr marL="1198563" indent="-284163" algn="l" defTabSz="912813" rtl="0" fontAlgn="base">
        <a:spcBef>
          <a:spcPct val="0"/>
        </a:spcBef>
        <a:spcAft>
          <a:spcPts val="600"/>
        </a:spcAft>
        <a:buFont typeface="Symbol" panose="05050102010706020507" pitchFamily="18" charset="2"/>
        <a:buChar char="-"/>
        <a:defRPr kern="1200">
          <a:solidFill>
            <a:schemeClr val="tx2"/>
          </a:solidFill>
          <a:latin typeface="+mn-lt"/>
          <a:ea typeface="+mn-ea"/>
          <a:cs typeface="+mn-cs"/>
        </a:defRPr>
      </a:lvl5pPr>
      <a:lvl6pPr marL="1198800" indent="-284400" algn="l" defTabSz="914377" rtl="0" eaLnBrk="1" latinLnBrk="0" hangingPunct="1">
        <a:lnSpc>
          <a:spcPct val="100000"/>
        </a:lnSpc>
        <a:spcBef>
          <a:spcPts val="500"/>
        </a:spcBef>
        <a:spcAft>
          <a:spcPts val="300"/>
        </a:spcAft>
        <a:buFont typeface="Symbol" panose="05050102010706020507" pitchFamily="18" charset="2"/>
        <a:buChar char="-"/>
        <a:defRPr sz="1800" kern="1200">
          <a:solidFill>
            <a:schemeClr val="tx2"/>
          </a:solidFill>
          <a:latin typeface="+mn-lt"/>
          <a:ea typeface="+mn-ea"/>
          <a:cs typeface="+mn-cs"/>
        </a:defRPr>
      </a:lvl6pPr>
      <a:lvl7pPr marL="1198800" indent="-284400" algn="l" defTabSz="914377" rtl="0" eaLnBrk="1" latinLnBrk="0" hangingPunct="1">
        <a:lnSpc>
          <a:spcPct val="100000"/>
        </a:lnSpc>
        <a:spcBef>
          <a:spcPts val="500"/>
        </a:spcBef>
        <a:spcAft>
          <a:spcPts val="300"/>
        </a:spcAft>
        <a:buFont typeface="Symbol" panose="05050102010706020507" pitchFamily="18" charset="2"/>
        <a:buChar char="-"/>
        <a:defRPr sz="1800" kern="1200">
          <a:solidFill>
            <a:schemeClr val="tx2"/>
          </a:solidFill>
          <a:latin typeface="+mn-lt"/>
          <a:ea typeface="+mn-ea"/>
          <a:cs typeface="+mn-cs"/>
        </a:defRPr>
      </a:lvl7pPr>
      <a:lvl8pPr marL="1198800" indent="-284400" algn="l" defTabSz="914377" rtl="0" eaLnBrk="1" latinLnBrk="0" hangingPunct="1">
        <a:lnSpc>
          <a:spcPct val="100000"/>
        </a:lnSpc>
        <a:spcBef>
          <a:spcPts val="500"/>
        </a:spcBef>
        <a:spcAft>
          <a:spcPts val="300"/>
        </a:spcAft>
        <a:buFont typeface="Symbol" panose="05050102010706020507" pitchFamily="18" charset="2"/>
        <a:buChar char="-"/>
        <a:defRPr sz="1800" kern="1200">
          <a:solidFill>
            <a:schemeClr val="tx2"/>
          </a:solidFill>
          <a:latin typeface="+mn-lt"/>
          <a:ea typeface="+mn-ea"/>
          <a:cs typeface="+mn-cs"/>
        </a:defRPr>
      </a:lvl8pPr>
      <a:lvl9pPr marL="1198800" indent="-284400" algn="l" defTabSz="914377" rtl="0" eaLnBrk="1" latinLnBrk="0" hangingPunct="1">
        <a:lnSpc>
          <a:spcPct val="100000"/>
        </a:lnSpc>
        <a:spcBef>
          <a:spcPts val="500"/>
        </a:spcBef>
        <a:spcAft>
          <a:spcPts val="300"/>
        </a:spcAft>
        <a:buFont typeface="Symbol" panose="05050102010706020507" pitchFamily="18" charset="2"/>
        <a:buChar char="-"/>
        <a:defRPr sz="1800" kern="1200">
          <a:solidFill>
            <a:schemeClr val="tx2"/>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s://ticket.int.kn/Ticket/Display.html?id=388315816"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2" Type="http://schemas.openxmlformats.org/officeDocument/2006/relationships/hyperlink" Target="https://ticket.int.kn/Ticket/Display.html?id=388315816" TargetMode="Externa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65.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6.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ext Placeholder 1">
            <a:extLst>
              <a:ext uri="{FF2B5EF4-FFF2-40B4-BE49-F238E27FC236}">
                <a16:creationId xmlns:a16="http://schemas.microsoft.com/office/drawing/2014/main" id="{820D144F-A493-3E01-45DD-0967266A8210}"/>
              </a:ext>
            </a:extLst>
          </p:cNvPr>
          <p:cNvSpPr>
            <a:spLocks noGrp="1" noChangeArrowheads="1"/>
          </p:cNvSpPr>
          <p:nvPr>
            <p:ph type="body" sz="quarter" idx="12"/>
          </p:nvPr>
        </p:nvSpPr>
        <p:spPr>
          <a:xfrm>
            <a:off x="11182526" y="6222279"/>
            <a:ext cx="729403" cy="363080"/>
          </a:xfrm>
        </p:spPr>
        <p:txBody>
          <a:bodyPr/>
          <a:lstStyle/>
          <a:p>
            <a:pPr algn="r">
              <a:spcBef>
                <a:spcPct val="0"/>
              </a:spcBef>
            </a:pPr>
            <a:r>
              <a:rPr lang="en-US" altLang="en-US" dirty="0"/>
              <a:t>2024</a:t>
            </a:r>
          </a:p>
        </p:txBody>
      </p:sp>
      <p:sp>
        <p:nvSpPr>
          <p:cNvPr id="3" name="Title 2">
            <a:extLst>
              <a:ext uri="{FF2B5EF4-FFF2-40B4-BE49-F238E27FC236}">
                <a16:creationId xmlns:a16="http://schemas.microsoft.com/office/drawing/2014/main" id="{139B3FD0-FB69-CDA2-82D9-3B491E49787B}"/>
              </a:ext>
            </a:extLst>
          </p:cNvPr>
          <p:cNvSpPr>
            <a:spLocks noGrp="1"/>
          </p:cNvSpPr>
          <p:nvPr>
            <p:ph type="title"/>
          </p:nvPr>
        </p:nvSpPr>
        <p:spPr>
          <a:xfrm>
            <a:off x="511728" y="1151316"/>
            <a:ext cx="7491369" cy="4555368"/>
          </a:xfrm>
        </p:spPr>
        <p:txBody>
          <a:bodyPr rtlCol="0"/>
          <a:lstStyle/>
          <a:p>
            <a:pPr marL="0" marR="0">
              <a:spcBef>
                <a:spcPts val="0"/>
              </a:spcBef>
              <a:spcAft>
                <a:spcPts val="0"/>
              </a:spcAft>
              <a:buNone/>
            </a:pPr>
            <a:r>
              <a:rPr lang="en-US" sz="2800" dirty="0"/>
              <a:t>Hosted Services – SALOG Helpdesk:</a:t>
            </a:r>
            <a:br>
              <a:rPr lang="en-US" sz="2800" dirty="0"/>
            </a:br>
            <a:br>
              <a:rPr lang="en-US" sz="2800" dirty="0"/>
            </a:br>
            <a:r>
              <a:rPr lang="en-US" sz="2400" dirty="0"/>
              <a:t>Incident resolution task for Global.</a:t>
            </a:r>
            <a:br>
              <a:rPr lang="en-US" sz="2400" dirty="0"/>
            </a:br>
            <a:br>
              <a:rPr lang="en-US" sz="2400" dirty="0"/>
            </a:br>
            <a:br>
              <a:rPr lang="en-US" sz="2400" dirty="0"/>
            </a:br>
            <a:br>
              <a:rPr lang="en-US" sz="2800" kern="1200" baseline="0" dirty="0">
                <a:solidFill>
                  <a:schemeClr val="tx1"/>
                </a:solidFill>
                <a:effectLst/>
                <a:latin typeface="Arial"/>
                <a:ea typeface="Times New Roman"/>
                <a:cs typeface="+mn-cs"/>
              </a:rPr>
            </a:br>
            <a:r>
              <a:rPr lang="en-US" sz="2400" kern="1200" baseline="0" dirty="0">
                <a:solidFill>
                  <a:schemeClr val="tx1">
                    <a:lumMod val="40000"/>
                    <a:lumOff val="60000"/>
                  </a:schemeClr>
                </a:solidFill>
                <a:effectLst/>
                <a:latin typeface="Arial"/>
                <a:ea typeface="Times New Roman"/>
                <a:cs typeface="+mn-cs"/>
              </a:rPr>
              <a:t>CI TK# </a:t>
            </a:r>
            <a:r>
              <a:rPr lang="de-DE" sz="2400" dirty="0">
                <a:effectLst/>
                <a:latin typeface="Arial" panose="020B0604020202020204" pitchFamily="34" charset="0"/>
                <a:ea typeface="Arial" panose="020B0604020202020204" pitchFamily="34" charset="0"/>
                <a:hlinkClick r:id="rId2"/>
              </a:rPr>
              <a:t>388315816</a:t>
            </a:r>
            <a:br>
              <a:rPr lang="en-US" sz="3600" kern="1200" baseline="0" dirty="0">
                <a:solidFill>
                  <a:schemeClr val="tx1">
                    <a:lumMod val="40000"/>
                    <a:lumOff val="60000"/>
                  </a:schemeClr>
                </a:solidFill>
                <a:effectLst/>
                <a:latin typeface="Arial"/>
                <a:ea typeface="Times New Roman"/>
                <a:cs typeface="+mn-cs"/>
              </a:rPr>
            </a:br>
            <a:r>
              <a:rPr lang="en-US" sz="2400" dirty="0">
                <a:solidFill>
                  <a:schemeClr val="tx1">
                    <a:lumMod val="40000"/>
                    <a:lumOff val="60000"/>
                  </a:schemeClr>
                </a:solidFill>
              </a:rPr>
              <a:t>Schedule personalized reports in the server and scripts creation to solve errors or behaviors in SALOG.</a:t>
            </a:r>
            <a:br>
              <a:rPr lang="en-US" sz="2400" dirty="0">
                <a:solidFill>
                  <a:schemeClr val="tx1">
                    <a:lumMod val="40000"/>
                    <a:lumOff val="60000"/>
                  </a:schemeClr>
                </a:solidFill>
              </a:rPr>
            </a:br>
            <a:br>
              <a:rPr lang="en-US" sz="2400" dirty="0">
                <a:solidFill>
                  <a:schemeClr val="tx1">
                    <a:lumMod val="40000"/>
                    <a:lumOff val="60000"/>
                  </a:schemeClr>
                </a:solidFill>
              </a:rPr>
            </a:br>
            <a:r>
              <a:rPr lang="en-US" sz="2000" dirty="0">
                <a:solidFill>
                  <a:schemeClr val="tx1">
                    <a:lumMod val="40000"/>
                    <a:lumOff val="60000"/>
                  </a:schemeClr>
                </a:solidFill>
              </a:rPr>
              <a:t>Ariel Sanchez </a:t>
            </a:r>
            <a:r>
              <a:rPr lang="en-US" sz="2000" dirty="0" err="1">
                <a:solidFill>
                  <a:schemeClr val="tx1">
                    <a:lumMod val="40000"/>
                    <a:lumOff val="60000"/>
                  </a:schemeClr>
                </a:solidFill>
              </a:rPr>
              <a:t>Troz</a:t>
            </a:r>
            <a:endParaRPr lang="en-US" dirty="0">
              <a:solidFill>
                <a:schemeClr val="tx1">
                  <a:lumMod val="40000"/>
                  <a:lumOff val="60000"/>
                </a:schemeClr>
              </a:solidFill>
            </a:endParaRPr>
          </a:p>
        </p:txBody>
      </p:sp>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77FA15-3381-8423-512B-4F1C77347D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716" y="2264229"/>
            <a:ext cx="11838567" cy="3733800"/>
          </a:xfrm>
          <a:prstGeom prst="rect">
            <a:avLst/>
          </a:prstGeom>
        </p:spPr>
      </p:pic>
      <p:sp>
        <p:nvSpPr>
          <p:cNvPr id="4" name="Title 3">
            <a:extLst>
              <a:ext uri="{FF2B5EF4-FFF2-40B4-BE49-F238E27FC236}">
                <a16:creationId xmlns:a16="http://schemas.microsoft.com/office/drawing/2014/main" id="{9B5B71A2-9EE9-9920-1A91-84E46F1009DB}"/>
              </a:ext>
            </a:extLst>
          </p:cNvPr>
          <p:cNvSpPr txBox="1">
            <a:spLocks/>
          </p:cNvSpPr>
          <p:nvPr/>
        </p:nvSpPr>
        <p:spPr>
          <a:xfrm>
            <a:off x="176717" y="452569"/>
            <a:ext cx="8368570" cy="537146"/>
          </a:xfrm>
          <a:prstGeom prst="rect">
            <a:avLst/>
          </a:prstGeom>
        </p:spPr>
        <p:txBody>
          <a:bodyPr vert="horz" lIns="0" tIns="0" rIns="0" bIns="0" rtlCol="0" anchor="t" anchorCtr="0">
            <a:noAutofit/>
          </a:bodyPr>
          <a:lstStyle>
            <a:lvl1pPr algn="l" defTabSz="914377" rtl="0" eaLnBrk="1" latinLnBrk="0" hangingPunct="1">
              <a:lnSpc>
                <a:spcPct val="100000"/>
              </a:lnSpc>
              <a:spcBef>
                <a:spcPct val="0"/>
              </a:spcBef>
              <a:spcAft>
                <a:spcPts val="300"/>
              </a:spcAft>
              <a:buNone/>
              <a:defRPr lang="de-DE" sz="3600" b="1" i="0" kern="1200" baseline="0" dirty="0">
                <a:solidFill>
                  <a:srgbClr val="000000"/>
                </a:solidFill>
                <a:latin typeface="+mn-lt"/>
                <a:ea typeface="+mn-ea"/>
                <a:cs typeface="+mn-cs"/>
              </a:defRPr>
            </a:lvl1pPr>
          </a:lstStyle>
          <a:p>
            <a:r>
              <a:rPr lang="en-US" dirty="0"/>
              <a:t>Example of instructions and commands generated by the tool</a:t>
            </a:r>
          </a:p>
        </p:txBody>
      </p:sp>
    </p:spTree>
    <p:extLst>
      <p:ext uri="{BB962C8B-B14F-4D97-AF65-F5344CB8AC3E}">
        <p14:creationId xmlns:p14="http://schemas.microsoft.com/office/powerpoint/2010/main" val="198941857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1C81EC7-0188-D390-9B32-B847CC05E974}"/>
              </a:ext>
            </a:extLst>
          </p:cNvPr>
          <p:cNvPicPr>
            <a:picLocks noChangeAspect="1"/>
          </p:cNvPicPr>
          <p:nvPr/>
        </p:nvPicPr>
        <p:blipFill>
          <a:blip r:embed="rId2"/>
          <a:stretch>
            <a:fillRect/>
          </a:stretch>
        </p:blipFill>
        <p:spPr>
          <a:xfrm>
            <a:off x="569426" y="3078518"/>
            <a:ext cx="1935411" cy="3128673"/>
          </a:xfrm>
          <a:prstGeom prst="rect">
            <a:avLst/>
          </a:prstGeom>
        </p:spPr>
      </p:pic>
      <p:pic>
        <p:nvPicPr>
          <p:cNvPr id="7" name="Picture 6">
            <a:extLst>
              <a:ext uri="{FF2B5EF4-FFF2-40B4-BE49-F238E27FC236}">
                <a16:creationId xmlns:a16="http://schemas.microsoft.com/office/drawing/2014/main" id="{C1D673B2-3BFF-4B66-9DC1-35AF4E8F7026}"/>
              </a:ext>
            </a:extLst>
          </p:cNvPr>
          <p:cNvPicPr>
            <a:picLocks noChangeAspect="1"/>
          </p:cNvPicPr>
          <p:nvPr/>
        </p:nvPicPr>
        <p:blipFill>
          <a:blip r:embed="rId3"/>
          <a:stretch>
            <a:fillRect/>
          </a:stretch>
        </p:blipFill>
        <p:spPr>
          <a:xfrm>
            <a:off x="5605166" y="3635067"/>
            <a:ext cx="6341931" cy="2117634"/>
          </a:xfrm>
          <a:prstGeom prst="rect">
            <a:avLst/>
          </a:prstGeom>
        </p:spPr>
      </p:pic>
      <p:sp>
        <p:nvSpPr>
          <p:cNvPr id="10" name="Arrow: Right 9">
            <a:extLst>
              <a:ext uri="{FF2B5EF4-FFF2-40B4-BE49-F238E27FC236}">
                <a16:creationId xmlns:a16="http://schemas.microsoft.com/office/drawing/2014/main" id="{D8FB8E17-8ACD-9212-D2C9-85B044E45C78}"/>
              </a:ext>
            </a:extLst>
          </p:cNvPr>
          <p:cNvSpPr/>
          <p:nvPr/>
        </p:nvSpPr>
        <p:spPr>
          <a:xfrm rot="10800000" flipH="1" flipV="1">
            <a:off x="3483988" y="4263505"/>
            <a:ext cx="1523439" cy="758698"/>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2">
            <a:extLst>
              <a:ext uri="{FF2B5EF4-FFF2-40B4-BE49-F238E27FC236}">
                <a16:creationId xmlns:a16="http://schemas.microsoft.com/office/drawing/2014/main" id="{2D1B67F3-0314-042E-E01E-FECC2D111FF8}"/>
              </a:ext>
            </a:extLst>
          </p:cNvPr>
          <p:cNvSpPr>
            <a:spLocks noGrp="1"/>
          </p:cNvSpPr>
          <p:nvPr>
            <p:ph type="title"/>
          </p:nvPr>
        </p:nvSpPr>
        <p:spPr>
          <a:xfrm>
            <a:off x="1537131" y="1105299"/>
            <a:ext cx="8641010" cy="1513308"/>
          </a:xfrm>
        </p:spPr>
        <p:txBody>
          <a:bodyPr/>
          <a:lstStyle/>
          <a:p>
            <a:r>
              <a:rPr lang="en-CA" sz="3200" dirty="0"/>
              <a:t>As an additional function it creates SQL files and automatize the git commands for update ticket requests</a:t>
            </a:r>
          </a:p>
        </p:txBody>
      </p:sp>
    </p:spTree>
    <p:extLst>
      <p:ext uri="{BB962C8B-B14F-4D97-AF65-F5344CB8AC3E}">
        <p14:creationId xmlns:p14="http://schemas.microsoft.com/office/powerpoint/2010/main" val="3672677063"/>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942A5-838F-25D1-5457-A9E5C36ED067}"/>
              </a:ext>
            </a:extLst>
          </p:cNvPr>
          <p:cNvSpPr>
            <a:spLocks noGrp="1"/>
          </p:cNvSpPr>
          <p:nvPr>
            <p:ph type="title"/>
          </p:nvPr>
        </p:nvSpPr>
        <p:spPr>
          <a:xfrm>
            <a:off x="285772" y="361757"/>
            <a:ext cx="4277350" cy="465589"/>
          </a:xfrm>
        </p:spPr>
        <p:txBody>
          <a:bodyPr/>
          <a:lstStyle/>
          <a:p>
            <a:r>
              <a:rPr lang="en-US" dirty="0"/>
              <a:t>Time for reports – 3 months </a:t>
            </a:r>
          </a:p>
        </p:txBody>
      </p:sp>
      <p:cxnSp>
        <p:nvCxnSpPr>
          <p:cNvPr id="6" name="Connector: Elbow 5">
            <a:extLst>
              <a:ext uri="{FF2B5EF4-FFF2-40B4-BE49-F238E27FC236}">
                <a16:creationId xmlns:a16="http://schemas.microsoft.com/office/drawing/2014/main" id="{64E75B97-5D25-9506-B3EC-AEEA079D39B3}"/>
              </a:ext>
            </a:extLst>
          </p:cNvPr>
          <p:cNvCxnSpPr>
            <a:cxnSpLocks/>
          </p:cNvCxnSpPr>
          <p:nvPr/>
        </p:nvCxnSpPr>
        <p:spPr>
          <a:xfrm rot="16200000" flipH="1">
            <a:off x="2291696" y="5163461"/>
            <a:ext cx="1525762" cy="417480"/>
          </a:xfrm>
          <a:prstGeom prst="bentConnector3">
            <a:avLst>
              <a:gd name="adj1" fmla="val 100146"/>
            </a:avLst>
          </a:prstGeom>
          <a:ln>
            <a:tailEnd type="triangle"/>
          </a:ln>
        </p:spPr>
        <p:style>
          <a:lnRef idx="3">
            <a:schemeClr val="dk1"/>
          </a:lnRef>
          <a:fillRef idx="0">
            <a:schemeClr val="dk1"/>
          </a:fillRef>
          <a:effectRef idx="2">
            <a:schemeClr val="dk1"/>
          </a:effectRef>
          <a:fontRef idx="minor">
            <a:schemeClr val="tx1"/>
          </a:fontRef>
        </p:style>
      </p:cxnSp>
      <p:sp>
        <p:nvSpPr>
          <p:cNvPr id="19" name="Rectangle 18">
            <a:extLst>
              <a:ext uri="{FF2B5EF4-FFF2-40B4-BE49-F238E27FC236}">
                <a16:creationId xmlns:a16="http://schemas.microsoft.com/office/drawing/2014/main" id="{B5383F9D-93A6-9D8C-7A6A-CF3CDF3E6CEC}"/>
              </a:ext>
            </a:extLst>
          </p:cNvPr>
          <p:cNvSpPr/>
          <p:nvPr/>
        </p:nvSpPr>
        <p:spPr>
          <a:xfrm>
            <a:off x="3456264" y="5669493"/>
            <a:ext cx="5620624" cy="931178"/>
          </a:xfrm>
          <a:prstGeom prst="rect">
            <a:avLst/>
          </a:prstGeom>
          <a:solidFill>
            <a:schemeClr val="accent4">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sz="1600" dirty="0"/>
              <a:t>Time invested in a bit more than the quintuple work of the task.</a:t>
            </a:r>
          </a:p>
        </p:txBody>
      </p:sp>
      <p:graphicFrame>
        <p:nvGraphicFramePr>
          <p:cNvPr id="7" name="Chart 6">
            <a:extLst>
              <a:ext uri="{FF2B5EF4-FFF2-40B4-BE49-F238E27FC236}">
                <a16:creationId xmlns:a16="http://schemas.microsoft.com/office/drawing/2014/main" id="{4881E329-00EC-AA91-BAC9-0340ECC9FC7D}"/>
              </a:ext>
            </a:extLst>
          </p:cNvPr>
          <p:cNvGraphicFramePr/>
          <p:nvPr>
            <p:extLst>
              <p:ext uri="{D42A27DB-BD31-4B8C-83A1-F6EECF244321}">
                <p14:modId xmlns:p14="http://schemas.microsoft.com/office/powerpoint/2010/main" val="184008615"/>
              </p:ext>
            </p:extLst>
          </p:nvPr>
        </p:nvGraphicFramePr>
        <p:xfrm>
          <a:off x="2877423" y="1828800"/>
          <a:ext cx="6778305" cy="3740461"/>
        </p:xfrm>
        <a:graphic>
          <a:graphicData uri="http://schemas.openxmlformats.org/drawingml/2006/chart">
            <c:chart xmlns:c="http://schemas.openxmlformats.org/drawingml/2006/chart" xmlns:r="http://schemas.openxmlformats.org/officeDocument/2006/relationships" r:id="rId2"/>
          </a:graphicData>
        </a:graphic>
      </p:graphicFrame>
      <p:sp>
        <p:nvSpPr>
          <p:cNvPr id="20" name="Rectangle 19">
            <a:extLst>
              <a:ext uri="{FF2B5EF4-FFF2-40B4-BE49-F238E27FC236}">
                <a16:creationId xmlns:a16="http://schemas.microsoft.com/office/drawing/2014/main" id="{7FAE0993-76D8-AA66-1DC0-B58B35039FD3}"/>
              </a:ext>
            </a:extLst>
          </p:cNvPr>
          <p:cNvSpPr/>
          <p:nvPr/>
        </p:nvSpPr>
        <p:spPr>
          <a:xfrm>
            <a:off x="3456264" y="797390"/>
            <a:ext cx="5620624" cy="931178"/>
          </a:xfrm>
          <a:prstGeom prst="rect">
            <a:avLst/>
          </a:prstGeom>
          <a:solidFill>
            <a:schemeClr val="accent3">
              <a:lumMod val="20000"/>
              <a:lumOff val="80000"/>
            </a:schemeClr>
          </a:solidFill>
          <a:ln/>
        </p:spPr>
        <p:style>
          <a:lnRef idx="1">
            <a:schemeClr val="accent3"/>
          </a:lnRef>
          <a:fillRef idx="2">
            <a:schemeClr val="accent3"/>
          </a:fillRef>
          <a:effectRef idx="1">
            <a:schemeClr val="accent3"/>
          </a:effectRef>
          <a:fontRef idx="minor">
            <a:schemeClr val="dk1"/>
          </a:fontRef>
        </p:style>
        <p:txBody>
          <a:bodyPr rtlCol="0" anchor="ctr"/>
          <a:lstStyle/>
          <a:p>
            <a:r>
              <a:rPr lang="en-US" sz="1600" dirty="0"/>
              <a:t>No manual reports = No errors and time reduction.</a:t>
            </a:r>
          </a:p>
        </p:txBody>
      </p:sp>
    </p:spTree>
    <p:extLst>
      <p:ext uri="{BB962C8B-B14F-4D97-AF65-F5344CB8AC3E}">
        <p14:creationId xmlns:p14="http://schemas.microsoft.com/office/powerpoint/2010/main" val="942271160"/>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ACF94-38AA-5918-01D4-055C70A44262}"/>
              </a:ext>
            </a:extLst>
          </p:cNvPr>
          <p:cNvSpPr>
            <a:spLocks noGrp="1"/>
          </p:cNvSpPr>
          <p:nvPr>
            <p:ph type="title"/>
          </p:nvPr>
        </p:nvSpPr>
        <p:spPr>
          <a:xfrm>
            <a:off x="258763" y="215725"/>
            <a:ext cx="8313737" cy="863600"/>
          </a:xfrm>
        </p:spPr>
        <p:txBody>
          <a:bodyPr/>
          <a:lstStyle/>
          <a:p>
            <a:r>
              <a:rPr lang="en-US" dirty="0"/>
              <a:t>Implementation for reports</a:t>
            </a:r>
          </a:p>
        </p:txBody>
      </p:sp>
      <p:sp>
        <p:nvSpPr>
          <p:cNvPr id="4" name="Rectangle 3">
            <a:extLst>
              <a:ext uri="{FF2B5EF4-FFF2-40B4-BE49-F238E27FC236}">
                <a16:creationId xmlns:a16="http://schemas.microsoft.com/office/drawing/2014/main" id="{2233C142-F889-526A-B5EE-7B4104ACCCCB}"/>
              </a:ext>
            </a:extLst>
          </p:cNvPr>
          <p:cNvSpPr/>
          <p:nvPr/>
        </p:nvSpPr>
        <p:spPr>
          <a:xfrm>
            <a:off x="1753175" y="1219026"/>
            <a:ext cx="1693862" cy="614362"/>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Before</a:t>
            </a:r>
          </a:p>
        </p:txBody>
      </p:sp>
      <p:sp>
        <p:nvSpPr>
          <p:cNvPr id="5" name="Rectangle 4">
            <a:extLst>
              <a:ext uri="{FF2B5EF4-FFF2-40B4-BE49-F238E27FC236}">
                <a16:creationId xmlns:a16="http://schemas.microsoft.com/office/drawing/2014/main" id="{ADA81490-A174-27AB-58FC-EF5E573A19D5}"/>
              </a:ext>
            </a:extLst>
          </p:cNvPr>
          <p:cNvSpPr/>
          <p:nvPr/>
        </p:nvSpPr>
        <p:spPr>
          <a:xfrm>
            <a:off x="6945313" y="1214263"/>
            <a:ext cx="1693862" cy="614362"/>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dirty="0"/>
              <a:t>After</a:t>
            </a:r>
          </a:p>
        </p:txBody>
      </p:sp>
      <p:pic>
        <p:nvPicPr>
          <p:cNvPr id="1026" name="Picture 2">
            <a:extLst>
              <a:ext uri="{FF2B5EF4-FFF2-40B4-BE49-F238E27FC236}">
                <a16:creationId xmlns:a16="http://schemas.microsoft.com/office/drawing/2014/main" id="{2E6FA0BD-5B62-536B-10A7-9A40F912121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52" r="4422" b="6731"/>
          <a:stretch/>
        </p:blipFill>
        <p:spPr bwMode="auto">
          <a:xfrm>
            <a:off x="1118455" y="1973089"/>
            <a:ext cx="8940062" cy="383405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3EA9D07-0336-39B1-2484-848BF625DAEE}"/>
              </a:ext>
            </a:extLst>
          </p:cNvPr>
          <p:cNvSpPr/>
          <p:nvPr/>
        </p:nvSpPr>
        <p:spPr>
          <a:xfrm>
            <a:off x="6194581" y="5057847"/>
            <a:ext cx="4685939" cy="1031846"/>
          </a:xfrm>
          <a:prstGeom prst="rect">
            <a:avLst/>
          </a:prstGeom>
          <a:solidFill>
            <a:schemeClr val="tx1"/>
          </a:solidFill>
          <a:ln w="31750">
            <a:solidFill>
              <a:schemeClr val="accent2"/>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400" dirty="0">
                <a:solidFill>
                  <a:schemeClr val="bg1"/>
                </a:solidFill>
              </a:rPr>
              <a:t>As a result of the 0.322 FTE saving the team will be able to complete other processes and create new projects. </a:t>
            </a:r>
          </a:p>
        </p:txBody>
      </p:sp>
    </p:spTree>
    <p:extLst>
      <p:ext uri="{BB962C8B-B14F-4D97-AF65-F5344CB8AC3E}">
        <p14:creationId xmlns:p14="http://schemas.microsoft.com/office/powerpoint/2010/main" val="2966647890"/>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942A5-838F-25D1-5457-A9E5C36ED067}"/>
              </a:ext>
            </a:extLst>
          </p:cNvPr>
          <p:cNvSpPr>
            <a:spLocks noGrp="1"/>
          </p:cNvSpPr>
          <p:nvPr>
            <p:ph type="title"/>
          </p:nvPr>
        </p:nvSpPr>
        <p:spPr>
          <a:xfrm>
            <a:off x="285773" y="361757"/>
            <a:ext cx="4117552" cy="465589"/>
          </a:xfrm>
        </p:spPr>
        <p:txBody>
          <a:bodyPr/>
          <a:lstStyle/>
          <a:p>
            <a:r>
              <a:rPr lang="en-US" dirty="0"/>
              <a:t>Time for scripts – 3 months</a:t>
            </a:r>
          </a:p>
        </p:txBody>
      </p:sp>
      <p:cxnSp>
        <p:nvCxnSpPr>
          <p:cNvPr id="6" name="Connector: Elbow 5">
            <a:extLst>
              <a:ext uri="{FF2B5EF4-FFF2-40B4-BE49-F238E27FC236}">
                <a16:creationId xmlns:a16="http://schemas.microsoft.com/office/drawing/2014/main" id="{64E75B97-5D25-9506-B3EC-AEEA079D39B3}"/>
              </a:ext>
            </a:extLst>
          </p:cNvPr>
          <p:cNvCxnSpPr>
            <a:cxnSpLocks/>
          </p:cNvCxnSpPr>
          <p:nvPr/>
        </p:nvCxnSpPr>
        <p:spPr>
          <a:xfrm rot="16200000" flipH="1">
            <a:off x="2291696" y="5163461"/>
            <a:ext cx="1525762" cy="417480"/>
          </a:xfrm>
          <a:prstGeom prst="bentConnector3">
            <a:avLst>
              <a:gd name="adj1" fmla="val 100146"/>
            </a:avLst>
          </a:prstGeom>
          <a:ln>
            <a:tailEnd type="triangle"/>
          </a:ln>
        </p:spPr>
        <p:style>
          <a:lnRef idx="3">
            <a:schemeClr val="dk1"/>
          </a:lnRef>
          <a:fillRef idx="0">
            <a:schemeClr val="dk1"/>
          </a:fillRef>
          <a:effectRef idx="2">
            <a:schemeClr val="dk1"/>
          </a:effectRef>
          <a:fontRef idx="minor">
            <a:schemeClr val="tx1"/>
          </a:fontRef>
        </p:style>
      </p:cxnSp>
      <p:sp>
        <p:nvSpPr>
          <p:cNvPr id="19" name="Rectangle 18">
            <a:extLst>
              <a:ext uri="{FF2B5EF4-FFF2-40B4-BE49-F238E27FC236}">
                <a16:creationId xmlns:a16="http://schemas.microsoft.com/office/drawing/2014/main" id="{B5383F9D-93A6-9D8C-7A6A-CF3CDF3E6CEC}"/>
              </a:ext>
            </a:extLst>
          </p:cNvPr>
          <p:cNvSpPr/>
          <p:nvPr/>
        </p:nvSpPr>
        <p:spPr>
          <a:xfrm>
            <a:off x="3456264" y="5669493"/>
            <a:ext cx="5620624" cy="931178"/>
          </a:xfrm>
          <a:prstGeom prst="rect">
            <a:avLst/>
          </a:prstGeom>
          <a:solidFill>
            <a:schemeClr val="accent4">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sz="1600" dirty="0"/>
              <a:t>Time invested in a bit more than the triple work of the task.</a:t>
            </a:r>
          </a:p>
        </p:txBody>
      </p:sp>
      <p:graphicFrame>
        <p:nvGraphicFramePr>
          <p:cNvPr id="7" name="Chart 6">
            <a:extLst>
              <a:ext uri="{FF2B5EF4-FFF2-40B4-BE49-F238E27FC236}">
                <a16:creationId xmlns:a16="http://schemas.microsoft.com/office/drawing/2014/main" id="{4881E329-00EC-AA91-BAC9-0340ECC9FC7D}"/>
              </a:ext>
            </a:extLst>
          </p:cNvPr>
          <p:cNvGraphicFramePr/>
          <p:nvPr>
            <p:extLst>
              <p:ext uri="{D42A27DB-BD31-4B8C-83A1-F6EECF244321}">
                <p14:modId xmlns:p14="http://schemas.microsoft.com/office/powerpoint/2010/main" val="2133129010"/>
              </p:ext>
            </p:extLst>
          </p:nvPr>
        </p:nvGraphicFramePr>
        <p:xfrm>
          <a:off x="2877423" y="1828800"/>
          <a:ext cx="6778305" cy="3740461"/>
        </p:xfrm>
        <a:graphic>
          <a:graphicData uri="http://schemas.openxmlformats.org/drawingml/2006/chart">
            <c:chart xmlns:c="http://schemas.openxmlformats.org/drawingml/2006/chart" xmlns:r="http://schemas.openxmlformats.org/officeDocument/2006/relationships" r:id="rId2"/>
          </a:graphicData>
        </a:graphic>
      </p:graphicFrame>
      <p:sp>
        <p:nvSpPr>
          <p:cNvPr id="20" name="Rectangle 19">
            <a:extLst>
              <a:ext uri="{FF2B5EF4-FFF2-40B4-BE49-F238E27FC236}">
                <a16:creationId xmlns:a16="http://schemas.microsoft.com/office/drawing/2014/main" id="{7FAE0993-76D8-AA66-1DC0-B58B35039FD3}"/>
              </a:ext>
            </a:extLst>
          </p:cNvPr>
          <p:cNvSpPr/>
          <p:nvPr/>
        </p:nvSpPr>
        <p:spPr>
          <a:xfrm>
            <a:off x="3456264" y="797390"/>
            <a:ext cx="5620624" cy="931178"/>
          </a:xfrm>
          <a:prstGeom prst="rect">
            <a:avLst/>
          </a:prstGeom>
          <a:solidFill>
            <a:schemeClr val="accent3">
              <a:lumMod val="20000"/>
              <a:lumOff val="80000"/>
            </a:schemeClr>
          </a:solidFill>
          <a:ln/>
        </p:spPr>
        <p:style>
          <a:lnRef idx="1">
            <a:schemeClr val="accent3"/>
          </a:lnRef>
          <a:fillRef idx="2">
            <a:schemeClr val="accent3"/>
          </a:fillRef>
          <a:effectRef idx="1">
            <a:schemeClr val="accent3"/>
          </a:effectRef>
          <a:fontRef idx="minor">
            <a:schemeClr val="dk1"/>
          </a:fontRef>
        </p:style>
        <p:txBody>
          <a:bodyPr rtlCol="0" anchor="ctr"/>
          <a:lstStyle/>
          <a:p>
            <a:r>
              <a:rPr lang="en-US" sz="1600" dirty="0"/>
              <a:t>No manual scripts (git commands) = No errors and time reduction.</a:t>
            </a:r>
          </a:p>
        </p:txBody>
      </p:sp>
    </p:spTree>
    <p:extLst>
      <p:ext uri="{BB962C8B-B14F-4D97-AF65-F5344CB8AC3E}">
        <p14:creationId xmlns:p14="http://schemas.microsoft.com/office/powerpoint/2010/main" val="468911048"/>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ACF94-38AA-5918-01D4-055C70A44262}"/>
              </a:ext>
            </a:extLst>
          </p:cNvPr>
          <p:cNvSpPr>
            <a:spLocks noGrp="1"/>
          </p:cNvSpPr>
          <p:nvPr>
            <p:ph type="title"/>
          </p:nvPr>
        </p:nvSpPr>
        <p:spPr>
          <a:xfrm>
            <a:off x="258763" y="215725"/>
            <a:ext cx="8313737" cy="863600"/>
          </a:xfrm>
        </p:spPr>
        <p:txBody>
          <a:bodyPr/>
          <a:lstStyle/>
          <a:p>
            <a:r>
              <a:rPr lang="en-US" dirty="0"/>
              <a:t>Implementation for scripts</a:t>
            </a:r>
          </a:p>
        </p:txBody>
      </p:sp>
      <p:sp>
        <p:nvSpPr>
          <p:cNvPr id="4" name="Rectangle 3">
            <a:extLst>
              <a:ext uri="{FF2B5EF4-FFF2-40B4-BE49-F238E27FC236}">
                <a16:creationId xmlns:a16="http://schemas.microsoft.com/office/drawing/2014/main" id="{2233C142-F889-526A-B5EE-7B4104ACCCCB}"/>
              </a:ext>
            </a:extLst>
          </p:cNvPr>
          <p:cNvSpPr/>
          <p:nvPr/>
        </p:nvSpPr>
        <p:spPr>
          <a:xfrm>
            <a:off x="1753175" y="1219026"/>
            <a:ext cx="1693862" cy="614362"/>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dirty="0"/>
              <a:t>Before</a:t>
            </a:r>
          </a:p>
        </p:txBody>
      </p:sp>
      <p:sp>
        <p:nvSpPr>
          <p:cNvPr id="5" name="Rectangle 4">
            <a:extLst>
              <a:ext uri="{FF2B5EF4-FFF2-40B4-BE49-F238E27FC236}">
                <a16:creationId xmlns:a16="http://schemas.microsoft.com/office/drawing/2014/main" id="{ADA81490-A174-27AB-58FC-EF5E573A19D5}"/>
              </a:ext>
            </a:extLst>
          </p:cNvPr>
          <p:cNvSpPr/>
          <p:nvPr/>
        </p:nvSpPr>
        <p:spPr>
          <a:xfrm>
            <a:off x="6945313" y="1214263"/>
            <a:ext cx="1693862" cy="614362"/>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dirty="0"/>
              <a:t>After</a:t>
            </a:r>
          </a:p>
        </p:txBody>
      </p:sp>
      <p:pic>
        <p:nvPicPr>
          <p:cNvPr id="7" name="Picture 6">
            <a:extLst>
              <a:ext uri="{FF2B5EF4-FFF2-40B4-BE49-F238E27FC236}">
                <a16:creationId xmlns:a16="http://schemas.microsoft.com/office/drawing/2014/main" id="{2AA5E4A1-D871-E333-E47A-692939462CA0}"/>
              </a:ext>
            </a:extLst>
          </p:cNvPr>
          <p:cNvPicPr>
            <a:picLocks noChangeAspect="1"/>
          </p:cNvPicPr>
          <p:nvPr/>
        </p:nvPicPr>
        <p:blipFill rotWithShape="1">
          <a:blip r:embed="rId2"/>
          <a:srcRect b="6454"/>
          <a:stretch/>
        </p:blipFill>
        <p:spPr>
          <a:xfrm>
            <a:off x="1165003" y="1931074"/>
            <a:ext cx="8760232" cy="3812779"/>
          </a:xfrm>
          <a:prstGeom prst="rect">
            <a:avLst/>
          </a:prstGeom>
        </p:spPr>
      </p:pic>
      <p:sp>
        <p:nvSpPr>
          <p:cNvPr id="3" name="Rectangle 2">
            <a:extLst>
              <a:ext uri="{FF2B5EF4-FFF2-40B4-BE49-F238E27FC236}">
                <a16:creationId xmlns:a16="http://schemas.microsoft.com/office/drawing/2014/main" id="{F3EA9D07-0336-39B1-2484-848BF625DAEE}"/>
              </a:ext>
            </a:extLst>
          </p:cNvPr>
          <p:cNvSpPr/>
          <p:nvPr/>
        </p:nvSpPr>
        <p:spPr>
          <a:xfrm>
            <a:off x="6194581" y="5057847"/>
            <a:ext cx="4685939" cy="1031846"/>
          </a:xfrm>
          <a:prstGeom prst="rect">
            <a:avLst/>
          </a:prstGeom>
          <a:solidFill>
            <a:schemeClr val="tx1"/>
          </a:solidFill>
          <a:ln w="31750">
            <a:solidFill>
              <a:schemeClr val="accent2"/>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400" dirty="0">
                <a:solidFill>
                  <a:schemeClr val="bg1"/>
                </a:solidFill>
              </a:rPr>
              <a:t>As a result of the 0.248 FTE saving the team will be able to complete other processes and create new projects. </a:t>
            </a:r>
          </a:p>
        </p:txBody>
      </p:sp>
    </p:spTree>
    <p:extLst>
      <p:ext uri="{BB962C8B-B14F-4D97-AF65-F5344CB8AC3E}">
        <p14:creationId xmlns:p14="http://schemas.microsoft.com/office/powerpoint/2010/main" val="2366161714"/>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5E244A-51E3-CA90-5800-BE2BB53CFFA4}"/>
              </a:ext>
            </a:extLst>
          </p:cNvPr>
          <p:cNvSpPr>
            <a:spLocks noGrp="1"/>
          </p:cNvSpPr>
          <p:nvPr>
            <p:ph type="title"/>
          </p:nvPr>
        </p:nvSpPr>
        <p:spPr>
          <a:xfrm>
            <a:off x="1937544" y="2896394"/>
            <a:ext cx="8316912" cy="532606"/>
          </a:xfrm>
        </p:spPr>
        <p:txBody>
          <a:bodyPr rtlCol="0"/>
          <a:lstStyle/>
          <a:p>
            <a:pPr algn="ctr" defTabSz="914377" fontAlgn="auto">
              <a:defRPr/>
            </a:pPr>
            <a:r>
              <a:rPr dirty="0"/>
              <a:t>Saving with the app = </a:t>
            </a:r>
            <a:r>
              <a:rPr lang="en-US" dirty="0"/>
              <a:t>0.57 FTE</a:t>
            </a:r>
            <a:endParaRPr dirty="0"/>
          </a:p>
        </p:txBody>
      </p:sp>
    </p:spTree>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2660865"/>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extBox 3">
            <a:extLst>
              <a:ext uri="{FF2B5EF4-FFF2-40B4-BE49-F238E27FC236}">
                <a16:creationId xmlns:a16="http://schemas.microsoft.com/office/drawing/2014/main" id="{B54AC2E8-1D38-749A-67E4-E126B4126C04}"/>
              </a:ext>
            </a:extLst>
          </p:cNvPr>
          <p:cNvSpPr txBox="1">
            <a:spLocks noChangeArrowheads="1"/>
          </p:cNvSpPr>
          <p:nvPr/>
        </p:nvSpPr>
        <p:spPr bwMode="auto">
          <a:xfrm>
            <a:off x="554038" y="1541463"/>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912813" fontAlgn="base">
              <a:spcBef>
                <a:spcPct val="0"/>
              </a:spcBef>
              <a:spcAft>
                <a:spcPct val="0"/>
              </a:spcAft>
              <a:defRPr>
                <a:solidFill>
                  <a:schemeClr val="tx1"/>
                </a:solidFill>
                <a:latin typeface="Arial" panose="020B0604020202020204" pitchFamily="34" charset="0"/>
              </a:defRPr>
            </a:lvl6pPr>
            <a:lvl7pPr marL="2971800" indent="-228600" defTabSz="912813" fontAlgn="base">
              <a:spcBef>
                <a:spcPct val="0"/>
              </a:spcBef>
              <a:spcAft>
                <a:spcPct val="0"/>
              </a:spcAft>
              <a:defRPr>
                <a:solidFill>
                  <a:schemeClr val="tx1"/>
                </a:solidFill>
                <a:latin typeface="Arial" panose="020B0604020202020204" pitchFamily="34" charset="0"/>
              </a:defRPr>
            </a:lvl7pPr>
            <a:lvl8pPr marL="3429000" indent="-228600" defTabSz="912813" fontAlgn="base">
              <a:spcBef>
                <a:spcPct val="0"/>
              </a:spcBef>
              <a:spcAft>
                <a:spcPct val="0"/>
              </a:spcAft>
              <a:defRPr>
                <a:solidFill>
                  <a:schemeClr val="tx1"/>
                </a:solidFill>
                <a:latin typeface="Arial" panose="020B0604020202020204" pitchFamily="34" charset="0"/>
              </a:defRPr>
            </a:lvl8pPr>
            <a:lvl9pPr marL="3886200" indent="-228600" defTabSz="912813" fontAlgn="base">
              <a:spcBef>
                <a:spcPct val="0"/>
              </a:spcBef>
              <a:spcAft>
                <a:spcPct val="0"/>
              </a:spcAft>
              <a:defRPr>
                <a:solidFill>
                  <a:schemeClr val="tx1"/>
                </a:solidFill>
                <a:latin typeface="Arial" panose="020B0604020202020204" pitchFamily="34" charset="0"/>
              </a:defRPr>
            </a:lvl9pPr>
          </a:lstStyle>
          <a:p>
            <a:pPr eaLnBrk="1" hangingPunct="1"/>
            <a:endParaRPr lang="en-PH" altLang="en-US">
              <a:solidFill>
                <a:srgbClr val="000000"/>
              </a:solidFill>
            </a:endParaRPr>
          </a:p>
        </p:txBody>
      </p:sp>
      <p:graphicFrame>
        <p:nvGraphicFramePr>
          <p:cNvPr id="5" name="Table 4">
            <a:extLst>
              <a:ext uri="{FF2B5EF4-FFF2-40B4-BE49-F238E27FC236}">
                <a16:creationId xmlns:a16="http://schemas.microsoft.com/office/drawing/2014/main" id="{0AB4A829-4A2C-8757-E4F6-4DA49EC3BD41}"/>
              </a:ext>
            </a:extLst>
          </p:cNvPr>
          <p:cNvGraphicFramePr>
            <a:graphicFrameLocks noGrp="1"/>
          </p:cNvGraphicFramePr>
          <p:nvPr>
            <p:extLst>
              <p:ext uri="{D42A27DB-BD31-4B8C-83A1-F6EECF244321}">
                <p14:modId xmlns:p14="http://schemas.microsoft.com/office/powerpoint/2010/main" val="3113521083"/>
              </p:ext>
            </p:extLst>
          </p:nvPr>
        </p:nvGraphicFramePr>
        <p:xfrm>
          <a:off x="433388" y="660133"/>
          <a:ext cx="9079728" cy="846909"/>
        </p:xfrm>
        <a:graphic>
          <a:graphicData uri="http://schemas.openxmlformats.org/drawingml/2006/table">
            <a:tbl>
              <a:tblPr firstRow="1" firstCol="1" lastRow="1" lastCol="1" bandRow="1" bandCol="1"/>
              <a:tblGrid>
                <a:gridCol w="1567399">
                  <a:extLst>
                    <a:ext uri="{9D8B030D-6E8A-4147-A177-3AD203B41FA5}">
                      <a16:colId xmlns:a16="http://schemas.microsoft.com/office/drawing/2014/main" val="20000"/>
                    </a:ext>
                  </a:extLst>
                </a:gridCol>
                <a:gridCol w="7512329">
                  <a:extLst>
                    <a:ext uri="{9D8B030D-6E8A-4147-A177-3AD203B41FA5}">
                      <a16:colId xmlns:a16="http://schemas.microsoft.com/office/drawing/2014/main" val="20001"/>
                    </a:ext>
                  </a:extLst>
                </a:gridCol>
              </a:tblGrid>
              <a:tr h="176349">
                <a:tc>
                  <a:txBody>
                    <a:bodyPr/>
                    <a:lstStyle/>
                    <a:p>
                      <a:pPr marL="0" marR="0">
                        <a:spcBef>
                          <a:spcPts val="0"/>
                        </a:spcBef>
                        <a:spcAft>
                          <a:spcPts val="0"/>
                        </a:spcAft>
                      </a:pPr>
                      <a:r>
                        <a:rPr lang="en-US" sz="1100" b="1" dirty="0">
                          <a:solidFill>
                            <a:schemeClr val="accent2"/>
                          </a:solidFill>
                          <a:effectLst/>
                          <a:latin typeface="Arial"/>
                          <a:ea typeface="Times New Roman"/>
                        </a:rPr>
                        <a:t>Initiative Name: </a:t>
                      </a:r>
                      <a:endParaRPr lang="en-US" sz="1100" dirty="0">
                        <a:solidFill>
                          <a:schemeClr val="accent2"/>
                        </a:solidFill>
                        <a:effectLst/>
                        <a:latin typeface="Times New Roman"/>
                        <a:ea typeface="Times New Roman"/>
                      </a:endParaRPr>
                    </a:p>
                  </a:txBody>
                  <a:tcPr marL="60886" marR="60886" marT="0" marB="0">
                    <a:lnL>
                      <a:noFill/>
                    </a:lnL>
                    <a:lnR>
                      <a:noFill/>
                    </a:lnR>
                    <a:lnT>
                      <a:noFill/>
                    </a:lnT>
                    <a:lnB>
                      <a:noFill/>
                    </a:lnB>
                  </a:tcPr>
                </a:tc>
                <a:tc>
                  <a:txBody>
                    <a:bodyPr/>
                    <a:lstStyle/>
                    <a:p>
                      <a:pPr marL="0" marR="0">
                        <a:spcBef>
                          <a:spcPts val="0"/>
                        </a:spcBef>
                        <a:spcAft>
                          <a:spcPts val="0"/>
                        </a:spcAft>
                      </a:pPr>
                      <a:r>
                        <a:rPr lang="en-US" sz="1100" kern="1200" dirty="0">
                          <a:solidFill>
                            <a:schemeClr val="tx1"/>
                          </a:solidFill>
                          <a:effectLst/>
                          <a:latin typeface="+mn-lt"/>
                          <a:ea typeface="Times New Roman"/>
                          <a:cs typeface="+mn-cs"/>
                        </a:rPr>
                        <a:t>GSD1 assistant tool</a:t>
                      </a:r>
                      <a:endParaRPr lang="en-US" sz="1100" kern="1200" dirty="0">
                        <a:solidFill>
                          <a:schemeClr val="tx1"/>
                        </a:solidFill>
                        <a:effectLst/>
                        <a:latin typeface="Arial"/>
                        <a:ea typeface="Times New Roman"/>
                        <a:cs typeface="+mn-cs"/>
                      </a:endParaRPr>
                    </a:p>
                  </a:txBody>
                  <a:tcPr marL="60886" marR="60886"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04724">
                <a:tc>
                  <a:txBody>
                    <a:bodyPr/>
                    <a:lstStyle/>
                    <a:p>
                      <a:pPr marL="0" marR="0">
                        <a:spcBef>
                          <a:spcPts val="0"/>
                        </a:spcBef>
                        <a:spcAft>
                          <a:spcPts val="0"/>
                        </a:spcAft>
                      </a:pPr>
                      <a:endParaRPr lang="en-US" sz="1100" b="1" dirty="0">
                        <a:solidFill>
                          <a:schemeClr val="accent2"/>
                        </a:solidFill>
                        <a:effectLst/>
                        <a:latin typeface="Arial"/>
                        <a:ea typeface="Times New Roman"/>
                      </a:endParaRPr>
                    </a:p>
                    <a:p>
                      <a:pPr marL="0" marR="0">
                        <a:spcBef>
                          <a:spcPts val="0"/>
                        </a:spcBef>
                        <a:spcAft>
                          <a:spcPts val="0"/>
                        </a:spcAft>
                      </a:pPr>
                      <a:r>
                        <a:rPr lang="en-US" sz="1100" b="1" dirty="0">
                          <a:solidFill>
                            <a:schemeClr val="accent2"/>
                          </a:solidFill>
                          <a:effectLst/>
                          <a:latin typeface="Arial"/>
                          <a:ea typeface="Times New Roman"/>
                        </a:rPr>
                        <a:t>Business</a:t>
                      </a:r>
                      <a:r>
                        <a:rPr lang="en-US" sz="1100" b="1" baseline="0" dirty="0">
                          <a:solidFill>
                            <a:schemeClr val="accent2"/>
                          </a:solidFill>
                          <a:effectLst/>
                          <a:latin typeface="Arial"/>
                          <a:ea typeface="Times New Roman"/>
                        </a:rPr>
                        <a:t> Unit</a:t>
                      </a:r>
                      <a:r>
                        <a:rPr lang="en-US" sz="1100" b="1" dirty="0">
                          <a:solidFill>
                            <a:schemeClr val="accent2"/>
                          </a:solidFill>
                          <a:effectLst/>
                          <a:latin typeface="Arial"/>
                          <a:ea typeface="Times New Roman"/>
                        </a:rPr>
                        <a:t>:</a:t>
                      </a:r>
                      <a:endParaRPr lang="en-US" sz="1100" dirty="0">
                        <a:solidFill>
                          <a:schemeClr val="accent2"/>
                        </a:solidFill>
                        <a:effectLst/>
                        <a:latin typeface="Times New Roman"/>
                        <a:ea typeface="Times New Roman"/>
                      </a:endParaRPr>
                    </a:p>
                  </a:txBody>
                  <a:tcPr marL="60886" marR="60886" marT="0" marB="0">
                    <a:lnL>
                      <a:noFill/>
                    </a:lnL>
                    <a:lnR>
                      <a:noFill/>
                    </a:lnR>
                    <a:lnT>
                      <a:noFill/>
                    </a:lnT>
                    <a:lnB>
                      <a:noFill/>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effectLst/>
                          <a:latin typeface="Arial"/>
                          <a:ea typeface="Times New Roman"/>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latin typeface="+mn-lt"/>
                          <a:ea typeface="Times New Roman"/>
                          <a:cs typeface="+mn-cs"/>
                        </a:rPr>
                        <a:t>Road/HR+ Special Services – Hosted Services </a:t>
                      </a:r>
                      <a:r>
                        <a:rPr lang="en-US" sz="1100" kern="1200">
                          <a:solidFill>
                            <a:schemeClr val="tx1"/>
                          </a:solidFill>
                          <a:effectLst/>
                          <a:latin typeface="+mn-lt"/>
                          <a:ea typeface="Times New Roman"/>
                          <a:cs typeface="+mn-cs"/>
                        </a:rPr>
                        <a:t>– </a:t>
                      </a:r>
                      <a:r>
                        <a:rPr lang="en-US" sz="1100"/>
                        <a:t>Salog Helpdesk</a:t>
                      </a:r>
                      <a:endParaRPr lang="en-US" sz="1100" kern="1200" dirty="0">
                        <a:solidFill>
                          <a:schemeClr val="tx1"/>
                        </a:solidFill>
                        <a:effectLst/>
                        <a:latin typeface="+mn-lt"/>
                        <a:ea typeface="Times New Roman"/>
                        <a:cs typeface="+mn-cs"/>
                      </a:endParaRPr>
                    </a:p>
                  </a:txBody>
                  <a:tcPr marL="60886" marR="60886"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0472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en-US" sz="1100" b="1" dirty="0">
                        <a:solidFill>
                          <a:schemeClr val="accent2"/>
                        </a:solidFill>
                        <a:effectLst/>
                        <a:latin typeface="+mn-lt"/>
                        <a:ea typeface="Times New Roman"/>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dirty="0">
                          <a:solidFill>
                            <a:schemeClr val="accent2"/>
                          </a:solidFill>
                          <a:effectLst/>
                          <a:latin typeface="+mn-lt"/>
                          <a:ea typeface="Times New Roman"/>
                        </a:rPr>
                        <a:t>Initiative Number:</a:t>
                      </a:r>
                      <a:endParaRPr lang="en-US" sz="1100" dirty="0">
                        <a:solidFill>
                          <a:schemeClr val="accent2"/>
                        </a:solidFill>
                        <a:effectLst/>
                        <a:latin typeface="Times New Roman"/>
                        <a:ea typeface="Times New Roman"/>
                      </a:endParaRPr>
                    </a:p>
                  </a:txBody>
                  <a:tcPr marL="60886" marR="60886" marT="0" marB="0">
                    <a:lnL>
                      <a:noFill/>
                    </a:lnL>
                    <a:lnR>
                      <a:noFill/>
                    </a:lnR>
                    <a:lnT>
                      <a:noFill/>
                    </a:lnT>
                    <a:lnB>
                      <a:noFill/>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100" dirty="0">
                          <a:effectLst/>
                          <a:latin typeface="Arial" panose="020B0604020202020204" pitchFamily="34" charset="0"/>
                          <a:ea typeface="Arial" panose="020B0604020202020204" pitchFamily="34" charset="0"/>
                          <a:hlinkClick r:id="rId2"/>
                        </a:rPr>
                        <a:t>388315816</a:t>
                      </a:r>
                      <a:endParaRPr lang="en-US" sz="1100" kern="1200" dirty="0">
                        <a:solidFill>
                          <a:schemeClr val="tx1"/>
                        </a:solidFill>
                        <a:effectLst/>
                        <a:latin typeface="+mn-lt"/>
                        <a:ea typeface="Times New Roman"/>
                        <a:cs typeface="+mn-cs"/>
                      </a:endParaRPr>
                    </a:p>
                  </a:txBody>
                  <a:tcPr marL="60886" marR="60886"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70669" name="Rectangle 2">
            <a:extLst>
              <a:ext uri="{FF2B5EF4-FFF2-40B4-BE49-F238E27FC236}">
                <a16:creationId xmlns:a16="http://schemas.microsoft.com/office/drawing/2014/main" id="{AD54FDD9-3570-67E7-A8C6-8155C1F4FA2E}"/>
              </a:ext>
            </a:extLst>
          </p:cNvPr>
          <p:cNvSpPr>
            <a:spLocks noChangeArrowheads="1"/>
          </p:cNvSpPr>
          <p:nvPr/>
        </p:nvSpPr>
        <p:spPr bwMode="auto">
          <a:xfrm>
            <a:off x="457200" y="363378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tabLst>
                <a:tab pos="9144000" algn="r"/>
              </a:tabLst>
              <a:defRPr>
                <a:solidFill>
                  <a:schemeClr val="tx1"/>
                </a:solidFill>
                <a:latin typeface="Arial" panose="020B0604020202020204" pitchFamily="34" charset="0"/>
              </a:defRPr>
            </a:lvl1pPr>
            <a:lvl2pPr marL="742950" indent="-285750">
              <a:tabLst>
                <a:tab pos="9144000" algn="r"/>
              </a:tabLst>
              <a:defRPr>
                <a:solidFill>
                  <a:schemeClr val="tx1"/>
                </a:solidFill>
                <a:latin typeface="Arial" panose="020B0604020202020204" pitchFamily="34" charset="0"/>
              </a:defRPr>
            </a:lvl2pPr>
            <a:lvl3pPr marL="1143000" indent="-228600">
              <a:tabLst>
                <a:tab pos="9144000" algn="r"/>
              </a:tabLst>
              <a:defRPr>
                <a:solidFill>
                  <a:schemeClr val="tx1"/>
                </a:solidFill>
                <a:latin typeface="Arial" panose="020B0604020202020204" pitchFamily="34" charset="0"/>
              </a:defRPr>
            </a:lvl3pPr>
            <a:lvl4pPr marL="1600200" indent="-228600">
              <a:tabLst>
                <a:tab pos="9144000" algn="r"/>
              </a:tabLst>
              <a:defRPr>
                <a:solidFill>
                  <a:schemeClr val="tx1"/>
                </a:solidFill>
                <a:latin typeface="Arial" panose="020B0604020202020204" pitchFamily="34" charset="0"/>
              </a:defRPr>
            </a:lvl4pPr>
            <a:lvl5pPr marL="2057400" indent="-228600">
              <a:tabLst>
                <a:tab pos="9144000" algn="r"/>
              </a:tabLst>
              <a:defRPr>
                <a:solidFill>
                  <a:schemeClr val="tx1"/>
                </a:solidFill>
                <a:latin typeface="Arial" panose="020B0604020202020204" pitchFamily="34" charset="0"/>
              </a:defRPr>
            </a:lvl5pPr>
            <a:lvl6pPr marL="2514600" indent="-228600" fontAlgn="base">
              <a:spcBef>
                <a:spcPct val="0"/>
              </a:spcBef>
              <a:spcAft>
                <a:spcPct val="0"/>
              </a:spcAft>
              <a:tabLst>
                <a:tab pos="9144000" algn="r"/>
              </a:tabLst>
              <a:defRPr>
                <a:solidFill>
                  <a:schemeClr val="tx1"/>
                </a:solidFill>
                <a:latin typeface="Arial" panose="020B0604020202020204" pitchFamily="34" charset="0"/>
              </a:defRPr>
            </a:lvl6pPr>
            <a:lvl7pPr marL="2971800" indent="-228600" fontAlgn="base">
              <a:spcBef>
                <a:spcPct val="0"/>
              </a:spcBef>
              <a:spcAft>
                <a:spcPct val="0"/>
              </a:spcAft>
              <a:tabLst>
                <a:tab pos="9144000" algn="r"/>
              </a:tabLst>
              <a:defRPr>
                <a:solidFill>
                  <a:schemeClr val="tx1"/>
                </a:solidFill>
                <a:latin typeface="Arial" panose="020B0604020202020204" pitchFamily="34" charset="0"/>
              </a:defRPr>
            </a:lvl7pPr>
            <a:lvl8pPr marL="3429000" indent="-228600" fontAlgn="base">
              <a:spcBef>
                <a:spcPct val="0"/>
              </a:spcBef>
              <a:spcAft>
                <a:spcPct val="0"/>
              </a:spcAft>
              <a:tabLst>
                <a:tab pos="9144000" algn="r"/>
              </a:tabLst>
              <a:defRPr>
                <a:solidFill>
                  <a:schemeClr val="tx1"/>
                </a:solidFill>
                <a:latin typeface="Arial" panose="020B0604020202020204" pitchFamily="34" charset="0"/>
              </a:defRPr>
            </a:lvl8pPr>
            <a:lvl9pPr marL="3886200" indent="-228600" fontAlgn="base">
              <a:spcBef>
                <a:spcPct val="0"/>
              </a:spcBef>
              <a:spcAft>
                <a:spcPct val="0"/>
              </a:spcAft>
              <a:tabLst>
                <a:tab pos="9144000" algn="r"/>
              </a:tabLst>
              <a:defRPr>
                <a:solidFill>
                  <a:schemeClr val="tx1"/>
                </a:solidFill>
                <a:latin typeface="Arial" panose="020B0604020202020204" pitchFamily="34" charset="0"/>
              </a:defRPr>
            </a:lvl9pPr>
          </a:lstStyle>
          <a:p>
            <a:pPr defTabSz="914400" eaLnBrk="1" hangingPunct="1"/>
            <a:endParaRPr lang="en-US" altLang="en-US">
              <a:cs typeface="Arial" panose="020B0604020202020204" pitchFamily="34" charset="0"/>
            </a:endParaRPr>
          </a:p>
        </p:txBody>
      </p:sp>
      <p:graphicFrame>
        <p:nvGraphicFramePr>
          <p:cNvPr id="7" name="Table 6">
            <a:extLst>
              <a:ext uri="{FF2B5EF4-FFF2-40B4-BE49-F238E27FC236}">
                <a16:creationId xmlns:a16="http://schemas.microsoft.com/office/drawing/2014/main" id="{B829C991-184D-F6D0-3244-DE23A9D999FD}"/>
              </a:ext>
            </a:extLst>
          </p:cNvPr>
          <p:cNvGraphicFramePr>
            <a:graphicFrameLocks noGrp="1"/>
          </p:cNvGraphicFramePr>
          <p:nvPr>
            <p:extLst>
              <p:ext uri="{D42A27DB-BD31-4B8C-83A1-F6EECF244321}">
                <p14:modId xmlns:p14="http://schemas.microsoft.com/office/powerpoint/2010/main" val="2552772602"/>
              </p:ext>
            </p:extLst>
          </p:nvPr>
        </p:nvGraphicFramePr>
        <p:xfrm>
          <a:off x="433388" y="1597055"/>
          <a:ext cx="11149012" cy="4398779"/>
        </p:xfrm>
        <a:graphic>
          <a:graphicData uri="http://schemas.openxmlformats.org/drawingml/2006/table">
            <a:tbl>
              <a:tblPr firstRow="1" firstCol="1" bandRow="1"/>
              <a:tblGrid>
                <a:gridCol w="5673797">
                  <a:extLst>
                    <a:ext uri="{9D8B030D-6E8A-4147-A177-3AD203B41FA5}">
                      <a16:colId xmlns:a16="http://schemas.microsoft.com/office/drawing/2014/main" val="20000"/>
                    </a:ext>
                  </a:extLst>
                </a:gridCol>
                <a:gridCol w="5475215">
                  <a:extLst>
                    <a:ext uri="{9D8B030D-6E8A-4147-A177-3AD203B41FA5}">
                      <a16:colId xmlns:a16="http://schemas.microsoft.com/office/drawing/2014/main" val="20001"/>
                    </a:ext>
                  </a:extLst>
                </a:gridCol>
              </a:tblGrid>
              <a:tr h="690163">
                <a:tc>
                  <a:txBody>
                    <a:bodyPr/>
                    <a:lstStyle>
                      <a:lvl1pPr>
                        <a:buFont typeface="Wingdings" panose="05000000000000000000" pitchFamily="2" charset="2"/>
                        <a:buChar char="§"/>
                      </a:lvl1pPr>
                      <a:lvl2pPr>
                        <a:buFont typeface="Wingdings" panose="05000000000000000000" pitchFamily="2" charset="2"/>
                        <a:buChar char="§"/>
                      </a:lvl2pPr>
                      <a:lvl3pPr>
                        <a:buFont typeface="Arial" panose="020B0604020202020204" pitchFamily="34" charset="0"/>
                        <a:buChar char="•"/>
                      </a:lvl3pPr>
                      <a:lvl4pPr>
                        <a:buFont typeface="Symbol" panose="05050102010706020507" pitchFamily="18" charset="2"/>
                        <a:buChar char="-"/>
                      </a:lvl4pPr>
                      <a:lvl5pPr>
                        <a:buFont typeface="Symbol" panose="05050102010706020507" pitchFamily="18" charset="2"/>
                        <a:buChar char="-"/>
                      </a:lvl5pPr>
                      <a:lvl6pPr>
                        <a:buFont typeface="Symbol" panose="05050102010706020507" pitchFamily="18" charset="2"/>
                        <a:buChar char="-"/>
                      </a:lvl6pPr>
                      <a:lvl7pPr>
                        <a:buFont typeface="Symbol" panose="05050102010706020507" pitchFamily="18" charset="2"/>
                        <a:buChar char="-"/>
                      </a:lvl7pPr>
                      <a:lvl8pPr>
                        <a:buFont typeface="Symbol" panose="05050102010706020507" pitchFamily="18" charset="2"/>
                        <a:buChar char="-"/>
                      </a:lvl8pPr>
                      <a:lvl9pPr>
                        <a:buFont typeface="Symbol" panose="05050102010706020507" pitchFamily="18" charset="2"/>
                        <a:buChar char="-"/>
                      </a:lvl9pPr>
                    </a:lstStyle>
                    <a:p>
                      <a:pPr marL="0" marR="0">
                        <a:spcBef>
                          <a:spcPts val="0"/>
                        </a:spcBef>
                        <a:spcAft>
                          <a:spcPts val="0"/>
                        </a:spcAft>
                        <a:buNone/>
                      </a:pPr>
                      <a:r>
                        <a:rPr lang="en-GB" sz="1100" b="1" u="sng" dirty="0">
                          <a:solidFill>
                            <a:schemeClr val="tx1">
                              <a:lumMod val="60000"/>
                              <a:lumOff val="40000"/>
                            </a:schemeClr>
                          </a:solidFill>
                          <a:effectLst/>
                          <a:latin typeface="Arial"/>
                          <a:ea typeface="Times New Roman"/>
                        </a:rPr>
                        <a:t>Problem Statement</a:t>
                      </a:r>
                    </a:p>
                    <a:p>
                      <a:pPr marL="0" marR="0">
                        <a:spcBef>
                          <a:spcPts val="0"/>
                        </a:spcBef>
                        <a:spcAft>
                          <a:spcPts val="0"/>
                        </a:spcAft>
                        <a:buNone/>
                      </a:pPr>
                      <a:r>
                        <a:rPr lang="en-US" sz="1100" b="0" kern="1200" noProof="0" dirty="0">
                          <a:solidFill>
                            <a:schemeClr val="tx1"/>
                          </a:solidFill>
                          <a:effectLst/>
                          <a:latin typeface="+mn-lt"/>
                          <a:ea typeface="+mn-ea"/>
                          <a:cs typeface="+mn-cs"/>
                        </a:rPr>
                        <a:t>Current application has failures when creating SQL git commands (doesn’t work in all the cases, just if the user adds specific values), and we can’t improve the app since we don’t have the code, so we have delays and human errors when creating schedule reports.</a:t>
                      </a:r>
                    </a:p>
                  </a:txBody>
                  <a:tcPr marL="68584" marR="68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GB" sz="1100" b="1" u="sng" dirty="0">
                          <a:solidFill>
                            <a:schemeClr val="tx1">
                              <a:lumMod val="60000"/>
                              <a:lumOff val="40000"/>
                            </a:schemeClr>
                          </a:solidFill>
                          <a:effectLst/>
                          <a:latin typeface="Arial"/>
                          <a:ea typeface="Times New Roman"/>
                        </a:rPr>
                        <a:t>Goal</a:t>
                      </a:r>
                      <a:r>
                        <a:rPr lang="en-GB" sz="1100" b="1" u="sng" baseline="0" dirty="0">
                          <a:solidFill>
                            <a:schemeClr val="tx1">
                              <a:lumMod val="60000"/>
                              <a:lumOff val="40000"/>
                            </a:schemeClr>
                          </a:solidFill>
                          <a:effectLst/>
                          <a:latin typeface="Arial"/>
                          <a:ea typeface="Times New Roman"/>
                        </a:rPr>
                        <a:t> Statement</a:t>
                      </a:r>
                      <a:r>
                        <a:rPr lang="en-US" sz="1100" b="1" u="sng" dirty="0">
                          <a:solidFill>
                            <a:schemeClr val="tx1">
                              <a:lumMod val="60000"/>
                              <a:lumOff val="40000"/>
                            </a:schemeClr>
                          </a:solidFill>
                          <a:effectLst/>
                          <a:latin typeface="Arial"/>
                          <a:ea typeface="Times New Roman"/>
                        </a:rPr>
                        <a:t> </a:t>
                      </a:r>
                    </a:p>
                    <a:p>
                      <a:pPr marL="228600" marR="0" indent="-228600">
                        <a:spcBef>
                          <a:spcPts val="0"/>
                        </a:spcBef>
                        <a:spcAft>
                          <a:spcPts val="0"/>
                        </a:spcAft>
                        <a:buAutoNum type="arabicPeriod"/>
                      </a:pPr>
                      <a:r>
                        <a:rPr lang="en-US" sz="1100" b="0" dirty="0">
                          <a:effectLst/>
                          <a:latin typeface="+mn-lt"/>
                        </a:rPr>
                        <a:t>Avoid quality mistakes because we didn’t fill out correctly any of the fields</a:t>
                      </a:r>
                    </a:p>
                    <a:p>
                      <a:pPr marL="228600" marR="0" indent="-228600">
                        <a:spcBef>
                          <a:spcPts val="0"/>
                        </a:spcBef>
                        <a:spcAft>
                          <a:spcPts val="0"/>
                        </a:spcAft>
                        <a:buAutoNum type="arabicPeriod"/>
                      </a:pPr>
                      <a:r>
                        <a:rPr lang="en-US" sz="1100" b="0" dirty="0">
                          <a:effectLst/>
                          <a:latin typeface="+mn-lt"/>
                        </a:rPr>
                        <a:t>Reduce time when creating new schedule reports, automate most of the process</a:t>
                      </a:r>
                    </a:p>
                    <a:p>
                      <a:pPr marL="228600" marR="0" indent="-228600" algn="l" defTabSz="914377" rtl="0" eaLnBrk="1" latinLnBrk="0" hangingPunct="1">
                        <a:spcBef>
                          <a:spcPts val="0"/>
                        </a:spcBef>
                        <a:spcAft>
                          <a:spcPts val="0"/>
                        </a:spcAft>
                        <a:buAutoNum type="arabicPeriod"/>
                      </a:pPr>
                      <a:r>
                        <a:rPr lang="en-US" sz="1100" b="0" kern="1200" dirty="0">
                          <a:solidFill>
                            <a:schemeClr val="tx1"/>
                          </a:solidFill>
                          <a:effectLst/>
                          <a:latin typeface="+mn-lt"/>
                          <a:ea typeface="+mn-ea"/>
                          <a:cs typeface="+mn-cs"/>
                        </a:rPr>
                        <a:t>Automate the creation of git commands.</a:t>
                      </a:r>
                      <a:endParaRPr lang="en-US" sz="1100" b="0" dirty="0">
                        <a:effectLst/>
                        <a:latin typeface="+mn-lt"/>
                      </a:endParaRPr>
                    </a:p>
                  </a:txBody>
                  <a:tcPr marL="68584" marR="68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508179">
                <a:tc rowSpan="2">
                  <a:txBody>
                    <a:bodyPr/>
                    <a:lstStyle/>
                    <a:p>
                      <a:pPr marL="0" marR="0">
                        <a:spcBef>
                          <a:spcPts val="0"/>
                        </a:spcBef>
                        <a:spcAft>
                          <a:spcPts val="0"/>
                        </a:spcAft>
                      </a:pPr>
                      <a:endParaRPr lang="en-GB" sz="1050" b="1" u="sng" dirty="0">
                        <a:solidFill>
                          <a:schemeClr val="tx1">
                            <a:lumMod val="60000"/>
                            <a:lumOff val="40000"/>
                          </a:schemeClr>
                        </a:solidFill>
                        <a:effectLst/>
                        <a:latin typeface="Arial"/>
                        <a:ea typeface="Times New Roman"/>
                      </a:endParaRPr>
                    </a:p>
                    <a:p>
                      <a:pPr marL="0" marR="0">
                        <a:spcBef>
                          <a:spcPts val="0"/>
                        </a:spcBef>
                        <a:spcAft>
                          <a:spcPts val="0"/>
                        </a:spcAft>
                      </a:pPr>
                      <a:r>
                        <a:rPr lang="en-GB" sz="1050" b="1" u="sng" dirty="0">
                          <a:solidFill>
                            <a:schemeClr val="tx1">
                              <a:lumMod val="60000"/>
                              <a:lumOff val="40000"/>
                            </a:schemeClr>
                          </a:solidFill>
                          <a:effectLst/>
                          <a:latin typeface="Arial"/>
                          <a:ea typeface="Times New Roman"/>
                        </a:rPr>
                        <a:t>Proposed Solution</a:t>
                      </a:r>
                    </a:p>
                    <a:p>
                      <a:pPr marL="0" marR="0">
                        <a:spcBef>
                          <a:spcPts val="0"/>
                        </a:spcBef>
                        <a:spcAft>
                          <a:spcPts val="0"/>
                        </a:spcAft>
                      </a:pPr>
                      <a:endParaRPr lang="en-GB" sz="1050" b="0" dirty="0">
                        <a:effectLst/>
                        <a:latin typeface="Arial"/>
                        <a:ea typeface="Times New Roman"/>
                      </a:endParaRPr>
                    </a:p>
                    <a:p>
                      <a:pPr marL="171450" marR="0" indent="-171450">
                        <a:spcBef>
                          <a:spcPts val="0"/>
                        </a:spcBef>
                        <a:spcAft>
                          <a:spcPts val="0"/>
                        </a:spcAft>
                        <a:buFont typeface="Arial" panose="020B0604020202020204" pitchFamily="34" charset="0"/>
                        <a:buChar char="•"/>
                      </a:pPr>
                      <a:r>
                        <a:rPr lang="en-US" sz="1100" b="0" dirty="0">
                          <a:effectLst/>
                          <a:latin typeface="+mn-lt"/>
                        </a:rPr>
                        <a:t>The new app will resolve the issues the old application had in the text fields areas.</a:t>
                      </a:r>
                    </a:p>
                    <a:p>
                      <a:pPr marL="171450" marR="0" indent="-171450">
                        <a:spcBef>
                          <a:spcPts val="0"/>
                        </a:spcBef>
                        <a:spcAft>
                          <a:spcPts val="0"/>
                        </a:spcAft>
                        <a:buFont typeface="Arial" panose="020B0604020202020204" pitchFamily="34" charset="0"/>
                        <a:buChar char="•"/>
                      </a:pPr>
                      <a:r>
                        <a:rPr lang="en-US" sz="1100" b="0" dirty="0">
                          <a:effectLst/>
                          <a:latin typeface="+mn-lt"/>
                        </a:rPr>
                        <a:t>It will assist new and old users to speed up the process when creating reports.</a:t>
                      </a:r>
                    </a:p>
                    <a:p>
                      <a:pPr marL="171450" marR="0" indent="-171450">
                        <a:spcBef>
                          <a:spcPts val="0"/>
                        </a:spcBef>
                        <a:spcAft>
                          <a:spcPts val="0"/>
                        </a:spcAft>
                        <a:buFont typeface="Arial" panose="020B0604020202020204" pitchFamily="34" charset="0"/>
                        <a:buChar char="•"/>
                      </a:pPr>
                      <a:r>
                        <a:rPr lang="en-US" sz="1100" b="0" dirty="0">
                          <a:effectLst/>
                          <a:latin typeface="+mn-lt"/>
                        </a:rPr>
                        <a:t>It will generate automatically the template with all the information required in the specified format based on the variables added by the users.</a:t>
                      </a:r>
                    </a:p>
                    <a:p>
                      <a:pPr marL="171450" marR="0" indent="-171450">
                        <a:spcBef>
                          <a:spcPts val="0"/>
                        </a:spcBef>
                        <a:spcAft>
                          <a:spcPts val="0"/>
                        </a:spcAft>
                        <a:buFont typeface="Arial" panose="020B0604020202020204" pitchFamily="34" charset="0"/>
                        <a:buChar char="•"/>
                      </a:pPr>
                      <a:r>
                        <a:rPr lang="en-US" sz="1100" b="0" dirty="0">
                          <a:effectLst/>
                          <a:latin typeface="+mn-lt"/>
                        </a:rPr>
                        <a:t>It will automatically create the commands, so the users don’t have any human errors when executing them.</a:t>
                      </a:r>
                    </a:p>
                    <a:p>
                      <a:pPr marL="171450" marR="0" indent="-171450">
                        <a:spcBef>
                          <a:spcPts val="0"/>
                        </a:spcBef>
                        <a:spcAft>
                          <a:spcPts val="0"/>
                        </a:spcAft>
                        <a:buFont typeface="Arial" panose="020B0604020202020204" pitchFamily="34" charset="0"/>
                        <a:buChar char="•"/>
                      </a:pPr>
                      <a:r>
                        <a:rPr lang="en-US" sz="1100" b="0" dirty="0">
                          <a:effectLst/>
                          <a:latin typeface="+mn-lt"/>
                        </a:rPr>
                        <a:t>The application will show a detailed step by step of the process, (this is for new users).</a:t>
                      </a:r>
                    </a:p>
                  </a:txBody>
                  <a:tcPr marL="68584" marR="68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lvl1pPr>
                        <a:buFont typeface="Wingdings" panose="05000000000000000000" pitchFamily="2" charset="2"/>
                        <a:buChar char="§"/>
                      </a:lvl1pPr>
                      <a:lvl2pPr>
                        <a:buFont typeface="Wingdings" panose="05000000000000000000" pitchFamily="2" charset="2"/>
                        <a:buChar char="§"/>
                      </a:lvl2pPr>
                      <a:lvl3pPr>
                        <a:buFont typeface="Arial" panose="020B0604020202020204" pitchFamily="34" charset="0"/>
                        <a:buChar char="•"/>
                      </a:lvl3pPr>
                      <a:lvl4pPr>
                        <a:buFont typeface="Symbol" panose="05050102010706020507" pitchFamily="18" charset="2"/>
                        <a:buChar char="-"/>
                      </a:lvl4pPr>
                      <a:lvl5pPr>
                        <a:buFont typeface="Symbol" panose="05050102010706020507" pitchFamily="18" charset="2"/>
                        <a:buChar char="-"/>
                      </a:lvl5pPr>
                      <a:lvl6pPr>
                        <a:buFont typeface="Symbol" panose="05050102010706020507" pitchFamily="18" charset="2"/>
                        <a:buChar char="-"/>
                      </a:lvl6pPr>
                      <a:lvl7pPr>
                        <a:buFont typeface="Symbol" panose="05050102010706020507" pitchFamily="18" charset="2"/>
                        <a:buChar char="-"/>
                      </a:lvl7pPr>
                      <a:lvl8pPr>
                        <a:buFont typeface="Symbol" panose="05050102010706020507" pitchFamily="18" charset="2"/>
                        <a:buChar char="-"/>
                      </a:lvl8pPr>
                      <a:lvl9pPr>
                        <a:buFont typeface="Symbol" panose="05050102010706020507" pitchFamily="18" charset="2"/>
                        <a:buChar char="-"/>
                      </a:lvl9pPr>
                    </a:lstStyle>
                    <a:p>
                      <a:pPr marL="0" marR="0">
                        <a:spcBef>
                          <a:spcPts val="0"/>
                        </a:spcBef>
                        <a:spcAft>
                          <a:spcPts val="0"/>
                        </a:spcAft>
                        <a:buNone/>
                      </a:pPr>
                      <a:r>
                        <a:rPr lang="en-GB" sz="1100" b="1" u="sng" dirty="0">
                          <a:solidFill>
                            <a:schemeClr val="tx1">
                              <a:lumMod val="60000"/>
                              <a:lumOff val="40000"/>
                            </a:schemeClr>
                          </a:solidFill>
                          <a:effectLst/>
                          <a:latin typeface="Arial"/>
                          <a:ea typeface="Times New Roman"/>
                        </a:rPr>
                        <a:t>Project Scope</a:t>
                      </a:r>
                      <a:endParaRPr lang="en-US" sz="1100" b="1" u="sng" kern="1200" baseline="0" dirty="0">
                        <a:solidFill>
                          <a:schemeClr val="tx1">
                            <a:lumMod val="60000"/>
                            <a:lumOff val="40000"/>
                          </a:schemeClr>
                        </a:solidFill>
                        <a:effectLst/>
                        <a:latin typeface="Times New Roman"/>
                        <a:ea typeface="Times New Roman"/>
                        <a:cs typeface="+mn-cs"/>
                      </a:endParaRPr>
                    </a:p>
                    <a:p>
                      <a:pPr marL="0" marR="0">
                        <a:spcBef>
                          <a:spcPts val="0"/>
                        </a:spcBef>
                        <a:spcAft>
                          <a:spcPts val="0"/>
                        </a:spcAft>
                        <a:buNone/>
                      </a:pPr>
                      <a:r>
                        <a:rPr lang="en-US" sz="1100" dirty="0"/>
                        <a:t>Hosted Services – </a:t>
                      </a:r>
                      <a:r>
                        <a:rPr lang="en-US" sz="1100" dirty="0" err="1"/>
                        <a:t>Salog</a:t>
                      </a:r>
                      <a:r>
                        <a:rPr lang="en-US" sz="1100" dirty="0"/>
                        <a:t> Helpdesk:</a:t>
                      </a:r>
                    </a:p>
                    <a:p>
                      <a:pPr marL="0" marR="0">
                        <a:spcBef>
                          <a:spcPts val="0"/>
                        </a:spcBef>
                        <a:spcAft>
                          <a:spcPts val="0"/>
                        </a:spcAft>
                        <a:buNone/>
                      </a:pPr>
                      <a:r>
                        <a:rPr lang="en-US" sz="1100" dirty="0"/>
                        <a:t>Incident resolution task for Global.</a:t>
                      </a:r>
                      <a:endParaRPr lang="en-US" sz="1100" kern="1200" baseline="0" dirty="0">
                        <a:solidFill>
                          <a:schemeClr val="tx1"/>
                        </a:solidFill>
                        <a:effectLst/>
                        <a:latin typeface="Arial"/>
                        <a:ea typeface="Times New Roman"/>
                        <a:cs typeface="+mn-cs"/>
                      </a:endParaRPr>
                    </a:p>
                  </a:txBody>
                  <a:tcPr marL="68584" marR="68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347552">
                <a:tc vMerge="1">
                  <a:txBody>
                    <a:bodyPr/>
                    <a:lstStyle/>
                    <a:p>
                      <a:endParaRPr lang="en-PH"/>
                    </a:p>
                  </a:txBody>
                  <a:tcPr/>
                </a:tc>
                <a:tc>
                  <a:txBody>
                    <a:bodyPr/>
                    <a:lstStyle/>
                    <a:p>
                      <a:pPr marL="0" marR="0">
                        <a:spcBef>
                          <a:spcPts val="0"/>
                        </a:spcBef>
                        <a:spcAft>
                          <a:spcPts val="0"/>
                        </a:spcAft>
                      </a:pPr>
                      <a:r>
                        <a:rPr lang="en-GB" sz="1100" b="1" u="sng" dirty="0">
                          <a:solidFill>
                            <a:schemeClr val="tx1">
                              <a:lumMod val="60000"/>
                              <a:lumOff val="40000"/>
                            </a:schemeClr>
                          </a:solidFill>
                          <a:effectLst/>
                          <a:latin typeface="+mn-lt"/>
                          <a:ea typeface="Times New Roman"/>
                        </a:rPr>
                        <a:t>Business Benefits</a:t>
                      </a:r>
                    </a:p>
                    <a:p>
                      <a:pPr marL="171450" marR="0" indent="-171450">
                        <a:spcBef>
                          <a:spcPts val="0"/>
                        </a:spcBef>
                        <a:spcAft>
                          <a:spcPts val="0"/>
                        </a:spcAft>
                        <a:buFont typeface="Arial" panose="020B0604020202020204" pitchFamily="34" charset="0"/>
                        <a:buChar char="•"/>
                      </a:pPr>
                      <a:r>
                        <a:rPr lang="en-US" sz="1100" b="0" dirty="0">
                          <a:effectLst/>
                          <a:latin typeface="+mn-lt"/>
                        </a:rPr>
                        <a:t>Increase the quality reported in this task.</a:t>
                      </a:r>
                    </a:p>
                    <a:p>
                      <a:pPr marL="171450" marR="0" indent="-171450">
                        <a:spcBef>
                          <a:spcPts val="0"/>
                        </a:spcBef>
                        <a:spcAft>
                          <a:spcPts val="0"/>
                        </a:spcAft>
                        <a:buFont typeface="Arial" panose="020B0604020202020204" pitchFamily="34" charset="0"/>
                        <a:buChar char="•"/>
                      </a:pPr>
                      <a:r>
                        <a:rPr lang="en-US" sz="1100" b="0" dirty="0">
                          <a:effectLst/>
                          <a:latin typeface="+mn-lt"/>
                        </a:rPr>
                        <a:t>Reduce more than 50% of the time it takes to complete the task.</a:t>
                      </a:r>
                    </a:p>
                    <a:p>
                      <a:pPr marL="171450" marR="0" indent="-171450">
                        <a:spcBef>
                          <a:spcPts val="0"/>
                        </a:spcBef>
                        <a:spcAft>
                          <a:spcPts val="0"/>
                        </a:spcAft>
                        <a:buFont typeface="Arial" panose="020B0604020202020204" pitchFamily="34" charset="0"/>
                        <a:buChar char="•"/>
                      </a:pPr>
                      <a:r>
                        <a:rPr lang="en-US" sz="1100" b="0" dirty="0">
                          <a:effectLst/>
                          <a:latin typeface="+mn-lt"/>
                        </a:rPr>
                        <a:t>Reduces manual input and automates documents, format, names and commands.</a:t>
                      </a:r>
                    </a:p>
                    <a:p>
                      <a:pPr marL="171450" marR="0" indent="-171450">
                        <a:spcBef>
                          <a:spcPts val="0"/>
                        </a:spcBef>
                        <a:spcAft>
                          <a:spcPts val="0"/>
                        </a:spcAft>
                        <a:buFont typeface="Arial" panose="020B0604020202020204" pitchFamily="34" charset="0"/>
                        <a:buChar char="•"/>
                      </a:pPr>
                      <a:r>
                        <a:rPr lang="en-US" sz="1100" b="0" dirty="0">
                          <a:effectLst/>
                          <a:latin typeface="+mn-lt"/>
                        </a:rPr>
                        <a:t>Helps in new trainings and works as a guide for new and old users.</a:t>
                      </a:r>
                    </a:p>
                    <a:p>
                      <a:pPr marL="171450" marR="0" indent="-171450">
                        <a:spcBef>
                          <a:spcPts val="0"/>
                        </a:spcBef>
                        <a:spcAft>
                          <a:spcPts val="0"/>
                        </a:spcAft>
                        <a:buFont typeface="Arial" panose="020B0604020202020204" pitchFamily="34" charset="0"/>
                        <a:buChar char="•"/>
                      </a:pPr>
                      <a:r>
                        <a:rPr lang="en-US" sz="1100" dirty="0"/>
                        <a:t>Specialists can focus on supporting production in other tasks and have time for new processes we might receive. </a:t>
                      </a:r>
                    </a:p>
                    <a:p>
                      <a:pPr marL="171450" marR="0" indent="-171450">
                        <a:spcBef>
                          <a:spcPts val="0"/>
                        </a:spcBef>
                        <a:spcAft>
                          <a:spcPts val="0"/>
                        </a:spcAft>
                        <a:buFont typeface="Arial" panose="020B0604020202020204" pitchFamily="34" charset="0"/>
                        <a:buChar char="•"/>
                      </a:pPr>
                      <a:endParaRPr lang="en-US" sz="1100" b="0" dirty="0">
                        <a:effectLst/>
                        <a:latin typeface="+mn-lt"/>
                        <a:ea typeface="Times New Roman"/>
                      </a:endParaRPr>
                    </a:p>
                  </a:txBody>
                  <a:tcPr marL="68584" marR="68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852885">
                <a:tc>
                  <a:txBody>
                    <a:bodyPr/>
                    <a:lstStyle/>
                    <a:p>
                      <a:pPr marL="0" marR="0">
                        <a:spcBef>
                          <a:spcPts val="0"/>
                        </a:spcBef>
                        <a:spcAft>
                          <a:spcPts val="0"/>
                        </a:spcAft>
                      </a:pPr>
                      <a:r>
                        <a:rPr lang="en-GB" sz="1100" b="1" u="sng" dirty="0">
                          <a:solidFill>
                            <a:schemeClr val="tx1">
                              <a:lumMod val="60000"/>
                              <a:lumOff val="40000"/>
                            </a:schemeClr>
                          </a:solidFill>
                          <a:effectLst/>
                          <a:latin typeface="Arial"/>
                          <a:ea typeface="Times New Roman"/>
                        </a:rPr>
                        <a:t>Project Plan</a:t>
                      </a:r>
                    </a:p>
                    <a:p>
                      <a:pPr marL="0" marR="0">
                        <a:spcBef>
                          <a:spcPts val="0"/>
                        </a:spcBef>
                        <a:spcAft>
                          <a:spcPts val="0"/>
                        </a:spcAft>
                      </a:pPr>
                      <a:endParaRPr lang="en-GB" sz="1100" b="1" u="sng" dirty="0">
                        <a:solidFill>
                          <a:schemeClr val="tx1">
                            <a:lumMod val="60000"/>
                            <a:lumOff val="40000"/>
                          </a:schemeClr>
                        </a:solidFill>
                        <a:effectLst/>
                        <a:latin typeface="Arial"/>
                        <a:ea typeface="Times New Roman"/>
                      </a:endParaRPr>
                    </a:p>
                    <a:p>
                      <a:pPr marL="228600" marR="0" lvl="0" indent="-228600" algn="l" defTabSz="914377" rtl="0" eaLnBrk="1" fontAlgn="auto" latinLnBrk="0" hangingPunct="1">
                        <a:lnSpc>
                          <a:spcPct val="100000"/>
                        </a:lnSpc>
                        <a:spcBef>
                          <a:spcPts val="0"/>
                        </a:spcBef>
                        <a:spcAft>
                          <a:spcPts val="0"/>
                        </a:spcAft>
                        <a:buClrTx/>
                        <a:buSzTx/>
                        <a:buFontTx/>
                        <a:buAutoNum type="arabicPeriod"/>
                        <a:tabLst/>
                        <a:defRPr/>
                      </a:pPr>
                      <a:r>
                        <a:rPr lang="en-CA" sz="1100" dirty="0"/>
                        <a:t>Current application has failures when creating SQL git commands and the entire section of the reports tool is not working so we thought of creating a new app that can solve this issues, as we can’t update the old one because we don’t have the code.</a:t>
                      </a:r>
                    </a:p>
                    <a:p>
                      <a:pPr marL="228600" marR="0" lvl="0" indent="-228600" algn="l" defTabSz="914377" rtl="0" eaLnBrk="1" fontAlgn="auto" latinLnBrk="0" hangingPunct="1">
                        <a:lnSpc>
                          <a:spcPct val="100000"/>
                        </a:lnSpc>
                        <a:spcBef>
                          <a:spcPts val="0"/>
                        </a:spcBef>
                        <a:spcAft>
                          <a:spcPts val="0"/>
                        </a:spcAft>
                        <a:buClrTx/>
                        <a:buSzTx/>
                        <a:buFontTx/>
                        <a:buAutoNum type="arabicPeriod"/>
                        <a:tabLst/>
                        <a:defRPr/>
                      </a:pPr>
                      <a:r>
                        <a:rPr lang="en-CA" sz="1100" dirty="0"/>
                        <a:t>We started doing it by using programming language like HTML, JavaScript and CSS Bootstrap and it will be done in Standard programming built-in objects.</a:t>
                      </a:r>
                    </a:p>
                    <a:p>
                      <a:pPr marL="228600" marR="0" lvl="0" indent="-228600" algn="l" defTabSz="914377" rtl="0" eaLnBrk="1" fontAlgn="auto" latinLnBrk="0" hangingPunct="1">
                        <a:lnSpc>
                          <a:spcPct val="100000"/>
                        </a:lnSpc>
                        <a:spcBef>
                          <a:spcPts val="0"/>
                        </a:spcBef>
                        <a:spcAft>
                          <a:spcPts val="0"/>
                        </a:spcAft>
                        <a:buClrTx/>
                        <a:buSzTx/>
                        <a:buFontTx/>
                        <a:buAutoNum type="arabicPeriod"/>
                        <a:tabLst/>
                        <a:defRPr/>
                      </a:pPr>
                      <a:r>
                        <a:rPr lang="en-CA" sz="1100" dirty="0"/>
                        <a:t>The application was completed, only a few bugs were fixed, and it reduced time when creating reports and git commands for scripts.</a:t>
                      </a:r>
                    </a:p>
                    <a:p>
                      <a:pPr marL="228600" marR="0" lvl="0" indent="-228600" algn="l" defTabSz="914377" rtl="0" eaLnBrk="1" fontAlgn="auto" latinLnBrk="0" hangingPunct="1">
                        <a:lnSpc>
                          <a:spcPct val="100000"/>
                        </a:lnSpc>
                        <a:spcBef>
                          <a:spcPts val="0"/>
                        </a:spcBef>
                        <a:spcAft>
                          <a:spcPts val="0"/>
                        </a:spcAft>
                        <a:buClrTx/>
                        <a:buSzTx/>
                        <a:buFontTx/>
                        <a:buAutoNum type="arabicPeriod"/>
                        <a:tabLst/>
                        <a:defRPr/>
                      </a:pPr>
                      <a:r>
                        <a:rPr lang="en-CA" sz="1100" dirty="0"/>
                        <a:t>It will be shared with the rest of the team as soon as the CI is closed.</a:t>
                      </a:r>
                    </a:p>
                    <a:p>
                      <a:pPr marL="0" marR="0">
                        <a:spcBef>
                          <a:spcPts val="0"/>
                        </a:spcBef>
                        <a:spcAft>
                          <a:spcPts val="0"/>
                        </a:spcAft>
                      </a:pPr>
                      <a:endParaRPr lang="en-US" sz="1100" b="1" u="sng" dirty="0">
                        <a:solidFill>
                          <a:schemeClr val="tx1">
                            <a:lumMod val="60000"/>
                            <a:lumOff val="40000"/>
                          </a:schemeClr>
                        </a:solidFill>
                        <a:effectLst/>
                        <a:latin typeface="Times New Roman"/>
                        <a:ea typeface="Times New Roman"/>
                      </a:endParaRPr>
                    </a:p>
                  </a:txBody>
                  <a:tcPr marL="68584" marR="68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GB" sz="1000" b="1" dirty="0">
                          <a:effectLst/>
                          <a:latin typeface="Arial"/>
                          <a:ea typeface="Times New Roman"/>
                        </a:rPr>
                        <a:t> </a:t>
                      </a:r>
                    </a:p>
                    <a:p>
                      <a:pPr marL="0" marR="0">
                        <a:spcBef>
                          <a:spcPts val="0"/>
                        </a:spcBef>
                        <a:spcAft>
                          <a:spcPts val="0"/>
                        </a:spcAft>
                      </a:pPr>
                      <a:r>
                        <a:rPr lang="en-US" sz="1000" dirty="0">
                          <a:effectLst/>
                          <a:latin typeface="Arial"/>
                          <a:ea typeface="Times New Roman"/>
                        </a:rPr>
                        <a:t> </a:t>
                      </a:r>
                    </a:p>
                  </a:txBody>
                  <a:tcPr marL="68584" marR="68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989DFB31-0D67-B394-8E2D-CBE1FA66E297}"/>
              </a:ext>
            </a:extLst>
          </p:cNvPr>
          <p:cNvGraphicFramePr>
            <a:graphicFrameLocks noGrp="1"/>
          </p:cNvGraphicFramePr>
          <p:nvPr>
            <p:extLst>
              <p:ext uri="{D42A27DB-BD31-4B8C-83A1-F6EECF244321}">
                <p14:modId xmlns:p14="http://schemas.microsoft.com/office/powerpoint/2010/main" val="2027448758"/>
              </p:ext>
            </p:extLst>
          </p:nvPr>
        </p:nvGraphicFramePr>
        <p:xfrm>
          <a:off x="433388" y="5995835"/>
          <a:ext cx="11088687" cy="700887"/>
        </p:xfrm>
        <a:graphic>
          <a:graphicData uri="http://schemas.openxmlformats.org/drawingml/2006/table">
            <a:tbl>
              <a:tblPr firstRow="1" firstCol="1" lastRow="1" lastCol="1" bandRow="1" bandCol="1"/>
              <a:tblGrid>
                <a:gridCol w="2014342">
                  <a:extLst>
                    <a:ext uri="{9D8B030D-6E8A-4147-A177-3AD203B41FA5}">
                      <a16:colId xmlns:a16="http://schemas.microsoft.com/office/drawing/2014/main" val="20000"/>
                    </a:ext>
                  </a:extLst>
                </a:gridCol>
                <a:gridCol w="1651461">
                  <a:extLst>
                    <a:ext uri="{9D8B030D-6E8A-4147-A177-3AD203B41FA5}">
                      <a16:colId xmlns:a16="http://schemas.microsoft.com/office/drawing/2014/main" val="20001"/>
                    </a:ext>
                  </a:extLst>
                </a:gridCol>
                <a:gridCol w="2007599">
                  <a:extLst>
                    <a:ext uri="{9D8B030D-6E8A-4147-A177-3AD203B41FA5}">
                      <a16:colId xmlns:a16="http://schemas.microsoft.com/office/drawing/2014/main" val="20002"/>
                    </a:ext>
                  </a:extLst>
                </a:gridCol>
                <a:gridCol w="1902835">
                  <a:extLst>
                    <a:ext uri="{9D8B030D-6E8A-4147-A177-3AD203B41FA5}">
                      <a16:colId xmlns:a16="http://schemas.microsoft.com/office/drawing/2014/main" val="20003"/>
                    </a:ext>
                  </a:extLst>
                </a:gridCol>
                <a:gridCol w="1756225">
                  <a:extLst>
                    <a:ext uri="{9D8B030D-6E8A-4147-A177-3AD203B41FA5}">
                      <a16:colId xmlns:a16="http://schemas.microsoft.com/office/drawing/2014/main" val="20004"/>
                    </a:ext>
                  </a:extLst>
                </a:gridCol>
                <a:gridCol w="1756225">
                  <a:extLst>
                    <a:ext uri="{9D8B030D-6E8A-4147-A177-3AD203B41FA5}">
                      <a16:colId xmlns:a16="http://schemas.microsoft.com/office/drawing/2014/main" val="20005"/>
                    </a:ext>
                  </a:extLst>
                </a:gridCol>
              </a:tblGrid>
              <a:tr h="396087">
                <a:tc>
                  <a:txBody>
                    <a:bodyPr/>
                    <a:lstStyle/>
                    <a:p>
                      <a:pPr marL="0" marR="0" algn="ctr">
                        <a:spcBef>
                          <a:spcPts val="0"/>
                        </a:spcBef>
                        <a:spcAft>
                          <a:spcPts val="0"/>
                        </a:spcAft>
                      </a:pPr>
                      <a:r>
                        <a:rPr lang="en-US" sz="1100" b="1" dirty="0">
                          <a:solidFill>
                            <a:schemeClr val="accent2"/>
                          </a:solidFill>
                          <a:effectLst/>
                          <a:latin typeface="Arial"/>
                          <a:ea typeface="Times New Roman"/>
                        </a:rPr>
                        <a:t>Milestones</a:t>
                      </a:r>
                      <a:endParaRPr lang="en-US" sz="1000" dirty="0">
                        <a:solidFill>
                          <a:schemeClr val="accent2"/>
                        </a:solidFill>
                        <a:effectLst/>
                        <a:latin typeface="Times New Roman"/>
                        <a:ea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dirty="0">
                          <a:solidFill>
                            <a:schemeClr val="accent2"/>
                          </a:solidFill>
                          <a:effectLst/>
                          <a:latin typeface="Arial"/>
                          <a:ea typeface="Times New Roman"/>
                        </a:rPr>
                        <a:t>Plan</a:t>
                      </a:r>
                      <a:endParaRPr lang="en-US" sz="1000" dirty="0">
                        <a:solidFill>
                          <a:schemeClr val="accent2"/>
                        </a:solidFill>
                        <a:effectLst/>
                        <a:latin typeface="Times New Roman"/>
                        <a:ea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dirty="0">
                          <a:solidFill>
                            <a:schemeClr val="accent2"/>
                          </a:solidFill>
                          <a:effectLst/>
                          <a:latin typeface="Arial"/>
                          <a:ea typeface="Times New Roman"/>
                        </a:rPr>
                        <a:t>Do</a:t>
                      </a:r>
                      <a:endParaRPr lang="en-US" sz="1000" dirty="0">
                        <a:solidFill>
                          <a:schemeClr val="accent2"/>
                        </a:solidFill>
                        <a:effectLst/>
                        <a:latin typeface="Times New Roman"/>
                        <a:ea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dirty="0">
                          <a:solidFill>
                            <a:schemeClr val="accent2"/>
                          </a:solidFill>
                          <a:effectLst/>
                          <a:latin typeface="Arial"/>
                          <a:ea typeface="Times New Roman"/>
                        </a:rPr>
                        <a:t>Check</a:t>
                      </a:r>
                      <a:endParaRPr lang="en-US" sz="1000" dirty="0">
                        <a:solidFill>
                          <a:schemeClr val="accent2"/>
                        </a:solidFill>
                        <a:effectLst/>
                        <a:latin typeface="Times New Roman"/>
                        <a:ea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000" b="1" dirty="0">
                          <a:solidFill>
                            <a:schemeClr val="accent2"/>
                          </a:solidFill>
                          <a:effectLst/>
                          <a:latin typeface="+mn-lt"/>
                          <a:ea typeface="Times New Roman"/>
                        </a:rPr>
                        <a:t>Act</a:t>
                      </a:r>
                      <a:endParaRPr lang="en-US" sz="1000" dirty="0">
                        <a:solidFill>
                          <a:schemeClr val="accent2"/>
                        </a:solidFill>
                        <a:effectLst/>
                        <a:latin typeface="Times New Roman"/>
                        <a:ea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dirty="0">
                          <a:solidFill>
                            <a:schemeClr val="accent2"/>
                          </a:solidFill>
                          <a:effectLst/>
                          <a:latin typeface="Arial"/>
                          <a:ea typeface="Times New Roman"/>
                        </a:rPr>
                        <a:t>CI - Closed</a:t>
                      </a:r>
                      <a:endParaRPr lang="en-US" sz="1000" dirty="0">
                        <a:solidFill>
                          <a:schemeClr val="accent2"/>
                        </a:solidFill>
                        <a:effectLst/>
                        <a:latin typeface="Times New Roman"/>
                        <a:ea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21942">
                <a:tc>
                  <a:txBody>
                    <a:bodyPr/>
                    <a:lstStyle/>
                    <a:p>
                      <a:pPr marL="0" marR="0">
                        <a:spcBef>
                          <a:spcPts val="0"/>
                        </a:spcBef>
                        <a:spcAft>
                          <a:spcPts val="0"/>
                        </a:spcAft>
                      </a:pPr>
                      <a:r>
                        <a:rPr lang="en-US" sz="1100" b="1" dirty="0">
                          <a:effectLst/>
                          <a:latin typeface="Arial"/>
                          <a:ea typeface="Times New Roman"/>
                        </a:rPr>
                        <a:t>Improvement Plan</a:t>
                      </a:r>
                      <a:endParaRPr lang="en-US" sz="1000" dirty="0">
                        <a:effectLst/>
                        <a:latin typeface="Times New Roman"/>
                        <a:ea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s-CR" sz="1000" kern="1200" baseline="0" dirty="0">
                          <a:solidFill>
                            <a:schemeClr val="tx1"/>
                          </a:solidFill>
                          <a:effectLst/>
                          <a:latin typeface="+mn-lt"/>
                          <a:ea typeface="Times New Roman"/>
                          <a:cs typeface="+mn-cs"/>
                        </a:rPr>
                        <a:t>01-Oct-2023</a:t>
                      </a:r>
                      <a:endParaRPr lang="en-US" sz="1000" kern="1200" baseline="0" dirty="0">
                        <a:solidFill>
                          <a:schemeClr val="tx1"/>
                        </a:solidFill>
                        <a:effectLst/>
                        <a:latin typeface="+mn-lt"/>
                        <a:ea typeface="Times New Roman"/>
                        <a:cs typeface="+mn-cs"/>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s-CR" sz="1000" kern="1200" baseline="0" dirty="0">
                          <a:solidFill>
                            <a:schemeClr val="tx1"/>
                          </a:solidFill>
                          <a:effectLst/>
                          <a:latin typeface="+mn-lt"/>
                          <a:ea typeface="Times New Roman"/>
                          <a:cs typeface="+mn-cs"/>
                        </a:rPr>
                        <a:t>15-Oct-2023</a:t>
                      </a:r>
                      <a:endParaRPr lang="en-US" sz="1000" kern="1200" baseline="0" dirty="0">
                        <a:solidFill>
                          <a:schemeClr val="tx1"/>
                        </a:solidFill>
                        <a:effectLst/>
                        <a:latin typeface="+mn-lt"/>
                        <a:ea typeface="Times New Roman"/>
                        <a:cs typeface="+mn-cs"/>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s-CR" sz="1000" kern="1200" baseline="0" dirty="0">
                          <a:solidFill>
                            <a:schemeClr val="tx1"/>
                          </a:solidFill>
                          <a:effectLst/>
                          <a:latin typeface="+mn-lt"/>
                          <a:ea typeface="Times New Roman"/>
                          <a:cs typeface="+mn-cs"/>
                        </a:rPr>
                        <a:t>22-Feb-2024</a:t>
                      </a:r>
                      <a:endParaRPr lang="en-US" sz="1000" kern="1200" baseline="0" dirty="0">
                        <a:solidFill>
                          <a:schemeClr val="tx1"/>
                        </a:solidFill>
                        <a:effectLst/>
                        <a:latin typeface="+mn-lt"/>
                        <a:ea typeface="Times New Roman"/>
                        <a:cs typeface="+mn-cs"/>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s-CR" sz="1000" kern="1200" baseline="0" dirty="0">
                          <a:solidFill>
                            <a:schemeClr val="tx1"/>
                          </a:solidFill>
                          <a:effectLst/>
                          <a:latin typeface="+mn-lt"/>
                          <a:ea typeface="Times New Roman"/>
                          <a:cs typeface="+mn-cs"/>
                        </a:rPr>
                        <a:t>21-May-2024</a:t>
                      </a:r>
                      <a:endParaRPr lang="en-US" sz="1000" kern="1200" baseline="0" dirty="0">
                        <a:solidFill>
                          <a:schemeClr val="tx1"/>
                        </a:solidFill>
                        <a:effectLst/>
                        <a:latin typeface="+mn-lt"/>
                        <a:ea typeface="Times New Roman"/>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kern="1200" baseline="0" dirty="0">
                        <a:solidFill>
                          <a:schemeClr val="tx1"/>
                        </a:solidFill>
                        <a:effectLst/>
                        <a:latin typeface="+mn-lt"/>
                        <a:ea typeface="Times New Roman"/>
                        <a:cs typeface="+mn-cs"/>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s-CR" sz="1000" kern="1200" baseline="0" dirty="0">
                          <a:solidFill>
                            <a:schemeClr val="tx1"/>
                          </a:solidFill>
                          <a:effectLst/>
                          <a:highlight>
                            <a:srgbClr val="FFFF00"/>
                          </a:highlight>
                          <a:latin typeface="+mn-lt"/>
                          <a:ea typeface="Times New Roman"/>
                          <a:cs typeface="+mn-cs"/>
                        </a:rPr>
                        <a:t>21-May-2024</a:t>
                      </a:r>
                      <a:endParaRPr lang="en-US" sz="1000" kern="1200" baseline="0" dirty="0">
                        <a:solidFill>
                          <a:schemeClr val="tx1"/>
                        </a:solidFill>
                        <a:effectLst/>
                        <a:highlight>
                          <a:srgbClr val="FFFF00"/>
                        </a:highlight>
                        <a:latin typeface="+mn-lt"/>
                        <a:ea typeface="Times New Roman"/>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kern="1200" baseline="0" dirty="0">
                        <a:solidFill>
                          <a:schemeClr val="tx1"/>
                        </a:solidFill>
                        <a:effectLst/>
                        <a:highlight>
                          <a:srgbClr val="FFFF00"/>
                        </a:highlight>
                        <a:latin typeface="+mn-lt"/>
                        <a:ea typeface="Times New Roman"/>
                        <a:cs typeface="+mn-cs"/>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1" name="Table 10">
            <a:extLst>
              <a:ext uri="{FF2B5EF4-FFF2-40B4-BE49-F238E27FC236}">
                <a16:creationId xmlns:a16="http://schemas.microsoft.com/office/drawing/2014/main" id="{E66D3F43-9478-EA35-8CBA-DE06D2E2147D}"/>
              </a:ext>
            </a:extLst>
          </p:cNvPr>
          <p:cNvGraphicFramePr>
            <a:graphicFrameLocks noGrp="1"/>
          </p:cNvGraphicFramePr>
          <p:nvPr>
            <p:extLst>
              <p:ext uri="{D42A27DB-BD31-4B8C-83A1-F6EECF244321}">
                <p14:modId xmlns:p14="http://schemas.microsoft.com/office/powerpoint/2010/main" val="2325547684"/>
              </p:ext>
            </p:extLst>
          </p:nvPr>
        </p:nvGraphicFramePr>
        <p:xfrm>
          <a:off x="6303146" y="4314638"/>
          <a:ext cx="5036212" cy="1485118"/>
        </p:xfrm>
        <a:graphic>
          <a:graphicData uri="http://schemas.openxmlformats.org/drawingml/2006/table">
            <a:tbl>
              <a:tblPr firstRow="1" bandRow="1">
                <a:tableStyleId>{21E4AEA4-8DFA-4A89-87EB-49C32662AFE0}</a:tableStyleId>
              </a:tblPr>
              <a:tblGrid>
                <a:gridCol w="1530451">
                  <a:extLst>
                    <a:ext uri="{9D8B030D-6E8A-4147-A177-3AD203B41FA5}">
                      <a16:colId xmlns:a16="http://schemas.microsoft.com/office/drawing/2014/main" val="20000"/>
                    </a:ext>
                  </a:extLst>
                </a:gridCol>
                <a:gridCol w="1110110">
                  <a:extLst>
                    <a:ext uri="{9D8B030D-6E8A-4147-A177-3AD203B41FA5}">
                      <a16:colId xmlns:a16="http://schemas.microsoft.com/office/drawing/2014/main" val="20001"/>
                    </a:ext>
                  </a:extLst>
                </a:gridCol>
                <a:gridCol w="596970">
                  <a:extLst>
                    <a:ext uri="{9D8B030D-6E8A-4147-A177-3AD203B41FA5}">
                      <a16:colId xmlns:a16="http://schemas.microsoft.com/office/drawing/2014/main" val="20002"/>
                    </a:ext>
                  </a:extLst>
                </a:gridCol>
                <a:gridCol w="607887">
                  <a:extLst>
                    <a:ext uri="{9D8B030D-6E8A-4147-A177-3AD203B41FA5}">
                      <a16:colId xmlns:a16="http://schemas.microsoft.com/office/drawing/2014/main" val="20003"/>
                    </a:ext>
                  </a:extLst>
                </a:gridCol>
                <a:gridCol w="482979">
                  <a:extLst>
                    <a:ext uri="{9D8B030D-6E8A-4147-A177-3AD203B41FA5}">
                      <a16:colId xmlns:a16="http://schemas.microsoft.com/office/drawing/2014/main" val="20004"/>
                    </a:ext>
                  </a:extLst>
                </a:gridCol>
                <a:gridCol w="707815">
                  <a:extLst>
                    <a:ext uri="{9D8B030D-6E8A-4147-A177-3AD203B41FA5}">
                      <a16:colId xmlns:a16="http://schemas.microsoft.com/office/drawing/2014/main" val="20005"/>
                    </a:ext>
                  </a:extLst>
                </a:gridCol>
              </a:tblGrid>
              <a:tr h="213225">
                <a:tc>
                  <a:txBody>
                    <a:bodyPr/>
                    <a:lstStyle/>
                    <a:p>
                      <a:pPr algn="ctr"/>
                      <a:r>
                        <a:rPr lang="en-US" sz="800" dirty="0"/>
                        <a:t>Team Members</a:t>
                      </a:r>
                      <a:endParaRPr lang="en-PH" sz="800" dirty="0"/>
                    </a:p>
                  </a:txBody>
                  <a:tcPr marL="91450" marR="91450" marT="45699" marB="45699"/>
                </a:tc>
                <a:tc>
                  <a:txBody>
                    <a:bodyPr/>
                    <a:lstStyle/>
                    <a:p>
                      <a:pPr algn="ctr"/>
                      <a:r>
                        <a:rPr lang="en-US" sz="800" dirty="0"/>
                        <a:t>Role</a:t>
                      </a:r>
                      <a:endParaRPr lang="en-PH" sz="800" dirty="0"/>
                    </a:p>
                  </a:txBody>
                  <a:tcPr marL="91450" marR="91450" marT="45699" marB="45699"/>
                </a:tc>
                <a:tc>
                  <a:txBody>
                    <a:bodyPr/>
                    <a:lstStyle/>
                    <a:p>
                      <a:pPr algn="ctr"/>
                      <a:r>
                        <a:rPr lang="en-US" sz="800" dirty="0"/>
                        <a:t>R</a:t>
                      </a:r>
                      <a:endParaRPr lang="en-PH" sz="800" dirty="0"/>
                    </a:p>
                  </a:txBody>
                  <a:tcPr marL="91450" marR="91450" marT="45699" marB="45699"/>
                </a:tc>
                <a:tc>
                  <a:txBody>
                    <a:bodyPr/>
                    <a:lstStyle/>
                    <a:p>
                      <a:pPr algn="ctr"/>
                      <a:r>
                        <a:rPr lang="en-US" sz="800" dirty="0"/>
                        <a:t>A</a:t>
                      </a:r>
                      <a:endParaRPr lang="en-PH" sz="800" dirty="0"/>
                    </a:p>
                  </a:txBody>
                  <a:tcPr marL="91450" marR="91450" marT="45699" marB="45699"/>
                </a:tc>
                <a:tc>
                  <a:txBody>
                    <a:bodyPr/>
                    <a:lstStyle/>
                    <a:p>
                      <a:pPr algn="ctr"/>
                      <a:r>
                        <a:rPr lang="en-US" sz="800" dirty="0"/>
                        <a:t>C</a:t>
                      </a:r>
                      <a:endParaRPr lang="en-PH" sz="800" dirty="0"/>
                    </a:p>
                  </a:txBody>
                  <a:tcPr marL="91450" marR="91450" marT="45699" marB="45699"/>
                </a:tc>
                <a:tc>
                  <a:txBody>
                    <a:bodyPr/>
                    <a:lstStyle/>
                    <a:p>
                      <a:pPr algn="ctr"/>
                      <a:r>
                        <a:rPr lang="en-US" sz="800" dirty="0"/>
                        <a:t>I</a:t>
                      </a:r>
                      <a:endParaRPr lang="en-PH" sz="800" dirty="0"/>
                    </a:p>
                  </a:txBody>
                  <a:tcPr marL="91450" marR="91450" marT="45699" marB="45699"/>
                </a:tc>
                <a:extLst>
                  <a:ext uri="{0D108BD9-81ED-4DB2-BD59-A6C34878D82A}">
                    <a16:rowId xmlns:a16="http://schemas.microsoft.com/office/drawing/2014/main" val="10000"/>
                  </a:ext>
                </a:extLst>
              </a:tr>
              <a:tr h="266086">
                <a:tc>
                  <a:txBody>
                    <a:bodyPr/>
                    <a:lstStyle/>
                    <a:p>
                      <a:pPr algn="ctr"/>
                      <a:r>
                        <a:rPr lang="en-PH" sz="800" dirty="0"/>
                        <a:t>Ariel Sanchez</a:t>
                      </a:r>
                    </a:p>
                  </a:txBody>
                  <a:tcPr marL="91450" marR="91450" marT="45699" marB="45699"/>
                </a:tc>
                <a:tc>
                  <a:txBody>
                    <a:bodyPr/>
                    <a:lstStyle/>
                    <a:p>
                      <a:pPr algn="ctr"/>
                      <a:r>
                        <a:rPr lang="en-PH" sz="800" dirty="0"/>
                        <a:t>Project Owner</a:t>
                      </a:r>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extLst>
                  <a:ext uri="{0D108BD9-81ED-4DB2-BD59-A6C34878D82A}">
                    <a16:rowId xmlns:a16="http://schemas.microsoft.com/office/drawing/2014/main" val="10001"/>
                  </a:ext>
                </a:extLst>
              </a:tr>
              <a:tr h="190902">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PH" sz="800" dirty="0"/>
                        <a:t>Alonso Marín</a:t>
                      </a:r>
                    </a:p>
                  </a:txBody>
                  <a:tcPr marL="91450" marR="91450" marT="45699" marB="45699"/>
                </a:tc>
                <a:tc>
                  <a:txBody>
                    <a:bodyPr/>
                    <a:lstStyle/>
                    <a:p>
                      <a:pPr algn="ctr"/>
                      <a:r>
                        <a:rPr lang="en-PH" sz="800" dirty="0"/>
                        <a:t>Team Leader</a:t>
                      </a:r>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extLst>
                  <a:ext uri="{0D108BD9-81ED-4DB2-BD59-A6C34878D82A}">
                    <a16:rowId xmlns:a16="http://schemas.microsoft.com/office/drawing/2014/main" val="1451478590"/>
                  </a:ext>
                </a:extLst>
              </a:tr>
              <a:tr h="213225">
                <a:tc>
                  <a:txBody>
                    <a:bodyPr/>
                    <a:lstStyle/>
                    <a:p>
                      <a:pPr algn="ctr"/>
                      <a:r>
                        <a:rPr lang="en-PH" sz="800" dirty="0"/>
                        <a:t>Nicole Swirgsde</a:t>
                      </a:r>
                    </a:p>
                  </a:txBody>
                  <a:tcPr marL="91450" marR="91450" marT="45699" marB="45699"/>
                </a:tc>
                <a:tc>
                  <a:txBody>
                    <a:bodyPr/>
                    <a:lstStyle/>
                    <a:p>
                      <a:pPr algn="ctr"/>
                      <a:r>
                        <a:rPr lang="en-PH" sz="800" dirty="0"/>
                        <a:t>Service Delivery Specialist (CI champion)</a:t>
                      </a:r>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extLst>
                  <a:ext uri="{0D108BD9-81ED-4DB2-BD59-A6C34878D82A}">
                    <a16:rowId xmlns:a16="http://schemas.microsoft.com/office/drawing/2014/main" val="10002"/>
                  </a:ext>
                </a:extLst>
              </a:tr>
              <a:tr h="213225">
                <a:tc>
                  <a:txBody>
                    <a:bodyPr/>
                    <a:lstStyle/>
                    <a:p>
                      <a:pPr algn="ctr"/>
                      <a:r>
                        <a:rPr lang="en-PH" sz="800" dirty="0"/>
                        <a:t>Irene Martinez</a:t>
                      </a:r>
                    </a:p>
                  </a:txBody>
                  <a:tcPr marL="91450" marR="91450" marT="45699" marB="45699"/>
                </a:tc>
                <a:tc>
                  <a:txBody>
                    <a:bodyPr/>
                    <a:lstStyle/>
                    <a:p>
                      <a:pPr algn="ctr"/>
                      <a:r>
                        <a:rPr lang="en-US" sz="800" dirty="0"/>
                        <a:t>Team Manager</a:t>
                      </a:r>
                    </a:p>
                    <a:p>
                      <a:pPr algn="ctr"/>
                      <a:r>
                        <a:rPr lang="en-PH" sz="800" dirty="0"/>
                        <a:t>Guide and support</a:t>
                      </a:r>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tc>
                  <a:txBody>
                    <a:bodyPr/>
                    <a:lstStyle/>
                    <a:p>
                      <a:pPr algn="ctr"/>
                      <a:endParaRPr lang="en-PH" sz="800" dirty="0"/>
                    </a:p>
                  </a:txBody>
                  <a:tcPr marL="91450" marR="91450" marT="45699" marB="45699"/>
                </a:tc>
                <a:extLst>
                  <a:ext uri="{0D108BD9-81ED-4DB2-BD59-A6C34878D82A}">
                    <a16:rowId xmlns:a16="http://schemas.microsoft.com/office/drawing/2014/main" val="119688447"/>
                  </a:ext>
                </a:extLst>
              </a:tr>
            </a:tbl>
          </a:graphicData>
        </a:graphic>
      </p:graphicFrame>
      <p:sp>
        <p:nvSpPr>
          <p:cNvPr id="18" name="Oval 17">
            <a:extLst>
              <a:ext uri="{FF2B5EF4-FFF2-40B4-BE49-F238E27FC236}">
                <a16:creationId xmlns:a16="http://schemas.microsoft.com/office/drawing/2014/main" id="{37B9D429-E527-2099-5863-6CE4AEC3E39D}"/>
              </a:ext>
            </a:extLst>
          </p:cNvPr>
          <p:cNvSpPr/>
          <p:nvPr/>
        </p:nvSpPr>
        <p:spPr>
          <a:xfrm flipV="1">
            <a:off x="10343606" y="4847797"/>
            <a:ext cx="119063" cy="109538"/>
          </a:xfrm>
          <a:prstGeom prst="ellipse">
            <a:avLst/>
          </a:prstGeom>
          <a:solidFill>
            <a:srgbClr val="00336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PH"/>
          </a:p>
        </p:txBody>
      </p:sp>
      <p:sp>
        <p:nvSpPr>
          <p:cNvPr id="19" name="Oval 18">
            <a:extLst>
              <a:ext uri="{FF2B5EF4-FFF2-40B4-BE49-F238E27FC236}">
                <a16:creationId xmlns:a16="http://schemas.microsoft.com/office/drawing/2014/main" id="{F09CC1EA-9B74-CBBE-B75E-899AB2B6FB09}"/>
              </a:ext>
            </a:extLst>
          </p:cNvPr>
          <p:cNvSpPr/>
          <p:nvPr/>
        </p:nvSpPr>
        <p:spPr>
          <a:xfrm flipV="1">
            <a:off x="9198874" y="4619186"/>
            <a:ext cx="120650" cy="109538"/>
          </a:xfrm>
          <a:prstGeom prst="ellipse">
            <a:avLst/>
          </a:prstGeom>
          <a:solidFill>
            <a:srgbClr val="00336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PH"/>
          </a:p>
        </p:txBody>
      </p:sp>
      <p:sp>
        <p:nvSpPr>
          <p:cNvPr id="2" name="Oval 1">
            <a:extLst>
              <a:ext uri="{FF2B5EF4-FFF2-40B4-BE49-F238E27FC236}">
                <a16:creationId xmlns:a16="http://schemas.microsoft.com/office/drawing/2014/main" id="{E5A67518-7E3B-E627-6972-BE24C8D27612}"/>
              </a:ext>
            </a:extLst>
          </p:cNvPr>
          <p:cNvSpPr/>
          <p:nvPr/>
        </p:nvSpPr>
        <p:spPr>
          <a:xfrm flipV="1">
            <a:off x="10342019" y="5180985"/>
            <a:ext cx="120650" cy="109537"/>
          </a:xfrm>
          <a:prstGeom prst="ellipse">
            <a:avLst/>
          </a:prstGeom>
          <a:solidFill>
            <a:srgbClr val="00336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PH"/>
          </a:p>
        </p:txBody>
      </p:sp>
      <p:sp>
        <p:nvSpPr>
          <p:cNvPr id="4" name="Oval 3">
            <a:extLst>
              <a:ext uri="{FF2B5EF4-FFF2-40B4-BE49-F238E27FC236}">
                <a16:creationId xmlns:a16="http://schemas.microsoft.com/office/drawing/2014/main" id="{698621CB-0059-32F4-AB13-A3F18510F559}"/>
              </a:ext>
            </a:extLst>
          </p:cNvPr>
          <p:cNvSpPr/>
          <p:nvPr/>
        </p:nvSpPr>
        <p:spPr>
          <a:xfrm flipV="1">
            <a:off x="10935409" y="5519393"/>
            <a:ext cx="120650" cy="109537"/>
          </a:xfrm>
          <a:prstGeom prst="ellipse">
            <a:avLst/>
          </a:prstGeom>
          <a:solidFill>
            <a:srgbClr val="00336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PH"/>
          </a:p>
        </p:txBody>
      </p:sp>
    </p:spTree>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38"/>
          <p:cNvSpPr>
            <a:spLocks noGrp="1"/>
          </p:cNvSpPr>
          <p:nvPr>
            <p:ph type="body" sz="quarter" idx="14"/>
          </p:nvPr>
        </p:nvSpPr>
        <p:spPr>
          <a:xfrm>
            <a:off x="3231285" y="1028800"/>
            <a:ext cx="3960000" cy="4317528"/>
          </a:xfrm>
        </p:spPr>
        <p:txBody>
          <a:bodyPr/>
          <a:lstStyle/>
          <a:p>
            <a:r>
              <a:rPr lang="en-GB" dirty="0"/>
              <a:t>Example of </a:t>
            </a:r>
            <a:r>
              <a:rPr lang="en-GB" dirty="0" err="1"/>
              <a:t>sh</a:t>
            </a:r>
            <a:r>
              <a:rPr lang="en-GB" dirty="0"/>
              <a:t> document, the name should follow a format</a:t>
            </a:r>
          </a:p>
        </p:txBody>
      </p:sp>
      <p:sp>
        <p:nvSpPr>
          <p:cNvPr id="40" name="Text Placeholder 39"/>
          <p:cNvSpPr>
            <a:spLocks noGrp="1"/>
          </p:cNvSpPr>
          <p:nvPr>
            <p:ph type="body" sz="quarter" idx="15"/>
          </p:nvPr>
        </p:nvSpPr>
        <p:spPr>
          <a:xfrm>
            <a:off x="7257941" y="1028800"/>
            <a:ext cx="3960000" cy="4317528"/>
          </a:xfrm>
        </p:spPr>
        <p:txBody>
          <a:bodyPr/>
          <a:lstStyle/>
          <a:p>
            <a:pPr marL="0" indent="0">
              <a:buNone/>
            </a:pPr>
            <a:r>
              <a:rPr lang="en-GB" dirty="0"/>
              <a:t>2. Example of </a:t>
            </a:r>
            <a:r>
              <a:rPr lang="en-GB" dirty="0" err="1"/>
              <a:t>src</a:t>
            </a:r>
            <a:r>
              <a:rPr lang="en-GB" dirty="0"/>
              <a:t> document, the name should follow a format</a:t>
            </a:r>
          </a:p>
        </p:txBody>
      </p:sp>
      <p:sp>
        <p:nvSpPr>
          <p:cNvPr id="38" name="Title 37"/>
          <p:cNvSpPr>
            <a:spLocks noGrp="1"/>
          </p:cNvSpPr>
          <p:nvPr>
            <p:ph type="title"/>
          </p:nvPr>
        </p:nvSpPr>
        <p:spPr>
          <a:xfrm>
            <a:off x="481778" y="2002086"/>
            <a:ext cx="2536178" cy="537146"/>
          </a:xfrm>
        </p:spPr>
        <p:txBody>
          <a:bodyPr/>
          <a:lstStyle/>
          <a:p>
            <a:r>
              <a:rPr lang="en-GB" dirty="0"/>
              <a:t>1. Creation of </a:t>
            </a:r>
            <a:r>
              <a:rPr lang="en-GB" dirty="0" err="1"/>
              <a:t>sh</a:t>
            </a:r>
            <a:r>
              <a:rPr lang="en-GB" dirty="0"/>
              <a:t> and </a:t>
            </a:r>
            <a:r>
              <a:rPr lang="en-GB" dirty="0" err="1"/>
              <a:t>src</a:t>
            </a:r>
            <a:r>
              <a:rPr lang="en-GB" dirty="0"/>
              <a:t> Documents</a:t>
            </a:r>
          </a:p>
        </p:txBody>
      </p:sp>
      <p:pic>
        <p:nvPicPr>
          <p:cNvPr id="3" name="Picture 2">
            <a:extLst>
              <a:ext uri="{FF2B5EF4-FFF2-40B4-BE49-F238E27FC236}">
                <a16:creationId xmlns:a16="http://schemas.microsoft.com/office/drawing/2014/main" id="{A16B944A-9FE6-D3B6-8F02-700E65961EFE}"/>
              </a:ext>
            </a:extLst>
          </p:cNvPr>
          <p:cNvPicPr>
            <a:picLocks noChangeAspect="1"/>
          </p:cNvPicPr>
          <p:nvPr/>
        </p:nvPicPr>
        <p:blipFill>
          <a:blip r:embed="rId3"/>
          <a:stretch>
            <a:fillRect/>
          </a:stretch>
        </p:blipFill>
        <p:spPr>
          <a:xfrm>
            <a:off x="4645583" y="2175500"/>
            <a:ext cx="1131404" cy="2935797"/>
          </a:xfrm>
          <a:prstGeom prst="rect">
            <a:avLst/>
          </a:prstGeom>
        </p:spPr>
      </p:pic>
      <p:pic>
        <p:nvPicPr>
          <p:cNvPr id="5" name="Picture 4">
            <a:extLst>
              <a:ext uri="{FF2B5EF4-FFF2-40B4-BE49-F238E27FC236}">
                <a16:creationId xmlns:a16="http://schemas.microsoft.com/office/drawing/2014/main" id="{55FCCBB3-36A6-3F2A-8E55-3DE9A6AC3868}"/>
              </a:ext>
            </a:extLst>
          </p:cNvPr>
          <p:cNvPicPr>
            <a:picLocks noChangeAspect="1"/>
          </p:cNvPicPr>
          <p:nvPr/>
        </p:nvPicPr>
        <p:blipFill>
          <a:blip r:embed="rId4"/>
          <a:stretch>
            <a:fillRect/>
          </a:stretch>
        </p:blipFill>
        <p:spPr>
          <a:xfrm>
            <a:off x="8361570" y="2173550"/>
            <a:ext cx="1228744" cy="3066866"/>
          </a:xfrm>
          <a:prstGeom prst="rect">
            <a:avLst/>
          </a:prstGeom>
        </p:spPr>
      </p:pic>
      <p:sp>
        <p:nvSpPr>
          <p:cNvPr id="6" name="TextBox 5">
            <a:extLst>
              <a:ext uri="{FF2B5EF4-FFF2-40B4-BE49-F238E27FC236}">
                <a16:creationId xmlns:a16="http://schemas.microsoft.com/office/drawing/2014/main" id="{4288AE51-1639-61F0-9FBC-2E1F008060DB}"/>
              </a:ext>
            </a:extLst>
          </p:cNvPr>
          <p:cNvSpPr txBox="1"/>
          <p:nvPr/>
        </p:nvSpPr>
        <p:spPr>
          <a:xfrm>
            <a:off x="1647626" y="5745574"/>
            <a:ext cx="9858573" cy="561309"/>
          </a:xfrm>
          <a:prstGeom prst="rect">
            <a:avLst/>
          </a:prstGeom>
          <a:noFill/>
        </p:spPr>
        <p:txBody>
          <a:bodyPr wrap="square" lIns="0" tIns="0" rIns="0" bIns="0" rtlCol="0">
            <a:noAutofit/>
          </a:bodyPr>
          <a:lstStyle/>
          <a:p>
            <a:pPr algn="l"/>
            <a:r>
              <a:rPr lang="en-US" b="1" dirty="0">
                <a:solidFill>
                  <a:schemeClr val="bg1"/>
                </a:solidFill>
              </a:rPr>
              <a:t>The app will generate the name in the correct format, so the user doesn’t do any mistype </a:t>
            </a:r>
          </a:p>
        </p:txBody>
      </p:sp>
    </p:spTree>
    <p:extLst>
      <p:ext uri="{BB962C8B-B14F-4D97-AF65-F5344CB8AC3E}">
        <p14:creationId xmlns:p14="http://schemas.microsoft.com/office/powerpoint/2010/main" val="2294490668"/>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92822" y="510742"/>
            <a:ext cx="8370921" cy="537146"/>
          </a:xfrm>
        </p:spPr>
        <p:txBody>
          <a:bodyPr/>
          <a:lstStyle/>
          <a:p>
            <a:r>
              <a:rPr lang="en-US" dirty="0"/>
              <a:t>Example of document </a:t>
            </a:r>
            <a:r>
              <a:rPr lang="en-US" dirty="0" err="1"/>
              <a:t>sh</a:t>
            </a:r>
            <a:r>
              <a:rPr lang="en-US" dirty="0"/>
              <a:t> + template</a:t>
            </a:r>
          </a:p>
        </p:txBody>
      </p:sp>
      <p:pic>
        <p:nvPicPr>
          <p:cNvPr id="3" name="Picture 2">
            <a:extLst>
              <a:ext uri="{FF2B5EF4-FFF2-40B4-BE49-F238E27FC236}">
                <a16:creationId xmlns:a16="http://schemas.microsoft.com/office/drawing/2014/main" id="{2BF7379D-7FB0-9206-50BE-E5F6549490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709" y="1099555"/>
            <a:ext cx="10074582" cy="4658890"/>
          </a:xfrm>
          <a:prstGeom prst="rect">
            <a:avLst/>
          </a:prstGeom>
        </p:spPr>
      </p:pic>
      <p:sp>
        <p:nvSpPr>
          <p:cNvPr id="5" name="TextBox 4">
            <a:extLst>
              <a:ext uri="{FF2B5EF4-FFF2-40B4-BE49-F238E27FC236}">
                <a16:creationId xmlns:a16="http://schemas.microsoft.com/office/drawing/2014/main" id="{C1844057-7684-410C-318A-858DB39437D1}"/>
              </a:ext>
            </a:extLst>
          </p:cNvPr>
          <p:cNvSpPr txBox="1"/>
          <p:nvPr/>
        </p:nvSpPr>
        <p:spPr>
          <a:xfrm>
            <a:off x="1301814" y="5785949"/>
            <a:ext cx="9588372" cy="561309"/>
          </a:xfrm>
          <a:prstGeom prst="rect">
            <a:avLst/>
          </a:prstGeom>
          <a:noFill/>
        </p:spPr>
        <p:txBody>
          <a:bodyPr wrap="square" lIns="0" tIns="0" rIns="0" bIns="0" rtlCol="0">
            <a:noAutofit/>
          </a:bodyPr>
          <a:lstStyle/>
          <a:p>
            <a:pPr algn="l"/>
            <a:r>
              <a:rPr lang="en-US" b="1" dirty="0">
                <a:solidFill>
                  <a:schemeClr val="tx2"/>
                </a:solidFill>
              </a:rPr>
              <a:t>The application will create the document with the correct values avoiding human errors</a:t>
            </a:r>
          </a:p>
        </p:txBody>
      </p:sp>
    </p:spTree>
    <p:extLst>
      <p:ext uri="{BB962C8B-B14F-4D97-AF65-F5344CB8AC3E}">
        <p14:creationId xmlns:p14="http://schemas.microsoft.com/office/powerpoint/2010/main" val="2575564168"/>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5D687EAE-866E-A5DB-B731-6E4BFAE4EDAD}"/>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376" r="376"/>
          <a:stretch>
            <a:fillRect/>
          </a:stretch>
        </p:blipFill>
        <p:spPr>
          <a:xfrm>
            <a:off x="1900693" y="2090512"/>
            <a:ext cx="8201249" cy="2732914"/>
          </a:xfrm>
        </p:spPr>
      </p:pic>
      <p:sp>
        <p:nvSpPr>
          <p:cNvPr id="3" name="Title 2"/>
          <p:cNvSpPr>
            <a:spLocks noGrp="1"/>
          </p:cNvSpPr>
          <p:nvPr>
            <p:ph type="title"/>
          </p:nvPr>
        </p:nvSpPr>
        <p:spPr>
          <a:xfrm>
            <a:off x="648835" y="968635"/>
            <a:ext cx="8316914" cy="1065940"/>
          </a:xfrm>
        </p:spPr>
        <p:txBody>
          <a:bodyPr/>
          <a:lstStyle/>
          <a:p>
            <a:r>
              <a:rPr lang="en-CA" dirty="0"/>
              <a:t>Finding the path to add both documents</a:t>
            </a:r>
          </a:p>
        </p:txBody>
      </p:sp>
      <p:sp>
        <p:nvSpPr>
          <p:cNvPr id="15" name="TextBox 14">
            <a:extLst>
              <a:ext uri="{FF2B5EF4-FFF2-40B4-BE49-F238E27FC236}">
                <a16:creationId xmlns:a16="http://schemas.microsoft.com/office/drawing/2014/main" id="{B1F283BB-4969-3704-0431-77A33445B6E5}"/>
              </a:ext>
            </a:extLst>
          </p:cNvPr>
          <p:cNvSpPr txBox="1"/>
          <p:nvPr/>
        </p:nvSpPr>
        <p:spPr>
          <a:xfrm>
            <a:off x="1900693" y="5889365"/>
            <a:ext cx="8903171" cy="561309"/>
          </a:xfrm>
          <a:prstGeom prst="rect">
            <a:avLst/>
          </a:prstGeom>
          <a:noFill/>
        </p:spPr>
        <p:txBody>
          <a:bodyPr wrap="square" lIns="0" tIns="0" rIns="0" bIns="0" rtlCol="0">
            <a:noAutofit/>
          </a:bodyPr>
          <a:lstStyle/>
          <a:p>
            <a:pPr algn="l"/>
            <a:r>
              <a:rPr lang="en-US" b="1" dirty="0">
                <a:solidFill>
                  <a:schemeClr val="tx2"/>
                </a:solidFill>
              </a:rPr>
              <a:t>The application will provide the path, so the user doesn’t have to find it manually</a:t>
            </a:r>
          </a:p>
        </p:txBody>
      </p:sp>
    </p:spTree>
    <p:extLst>
      <p:ext uri="{BB962C8B-B14F-4D97-AF65-F5344CB8AC3E}">
        <p14:creationId xmlns:p14="http://schemas.microsoft.com/office/powerpoint/2010/main" val="2575698887"/>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92822" y="423656"/>
            <a:ext cx="8370921" cy="537146"/>
          </a:xfrm>
        </p:spPr>
        <p:txBody>
          <a:bodyPr/>
          <a:lstStyle/>
          <a:p>
            <a:r>
              <a:rPr lang="en-US" dirty="0" err="1"/>
              <a:t>Mobax</a:t>
            </a:r>
            <a:r>
              <a:rPr lang="en-US" dirty="0"/>
              <a:t> login and basic CLI commands</a:t>
            </a:r>
          </a:p>
        </p:txBody>
      </p:sp>
      <p:sp>
        <p:nvSpPr>
          <p:cNvPr id="5" name="TextBox 4">
            <a:extLst>
              <a:ext uri="{FF2B5EF4-FFF2-40B4-BE49-F238E27FC236}">
                <a16:creationId xmlns:a16="http://schemas.microsoft.com/office/drawing/2014/main" id="{C1844057-7684-410C-318A-858DB39437D1}"/>
              </a:ext>
            </a:extLst>
          </p:cNvPr>
          <p:cNvSpPr txBox="1"/>
          <p:nvPr/>
        </p:nvSpPr>
        <p:spPr>
          <a:xfrm>
            <a:off x="1301814" y="5785949"/>
            <a:ext cx="9588372" cy="561309"/>
          </a:xfrm>
          <a:prstGeom prst="rect">
            <a:avLst/>
          </a:prstGeom>
          <a:noFill/>
        </p:spPr>
        <p:txBody>
          <a:bodyPr wrap="square" lIns="0" tIns="0" rIns="0" bIns="0" rtlCol="0">
            <a:noAutofit/>
          </a:bodyPr>
          <a:lstStyle/>
          <a:p>
            <a:pPr algn="l"/>
            <a:r>
              <a:rPr lang="en-US" b="1" dirty="0">
                <a:solidFill>
                  <a:schemeClr val="tx2"/>
                </a:solidFill>
              </a:rPr>
              <a:t>The application will provide all the steps to login and methods to add information, create changes, save changes </a:t>
            </a:r>
            <a:r>
              <a:rPr lang="en-US" b="1" dirty="0" err="1">
                <a:solidFill>
                  <a:schemeClr val="tx2"/>
                </a:solidFill>
              </a:rPr>
              <a:t>etc</a:t>
            </a:r>
            <a:r>
              <a:rPr lang="en-US" b="1" dirty="0">
                <a:solidFill>
                  <a:schemeClr val="tx2"/>
                </a:solidFill>
              </a:rPr>
              <a:t>, so any user can complete this process</a:t>
            </a:r>
          </a:p>
        </p:txBody>
      </p:sp>
      <p:pic>
        <p:nvPicPr>
          <p:cNvPr id="6" name="Picture 5">
            <a:extLst>
              <a:ext uri="{FF2B5EF4-FFF2-40B4-BE49-F238E27FC236}">
                <a16:creationId xmlns:a16="http://schemas.microsoft.com/office/drawing/2014/main" id="{705A1FAA-651D-C8F0-F79E-CCB130802C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81094" y="1434551"/>
            <a:ext cx="7029811" cy="3727642"/>
          </a:xfrm>
          <a:prstGeom prst="rect">
            <a:avLst/>
          </a:prstGeom>
        </p:spPr>
      </p:pic>
    </p:spTree>
    <p:extLst>
      <p:ext uri="{BB962C8B-B14F-4D97-AF65-F5344CB8AC3E}">
        <p14:creationId xmlns:p14="http://schemas.microsoft.com/office/powerpoint/2010/main" val="2933164063"/>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39984" y="585527"/>
            <a:ext cx="8370921" cy="537146"/>
          </a:xfrm>
        </p:spPr>
        <p:txBody>
          <a:bodyPr/>
          <a:lstStyle/>
          <a:p>
            <a:r>
              <a:rPr lang="en-US" dirty="0"/>
              <a:t>Schedule report command</a:t>
            </a:r>
          </a:p>
        </p:txBody>
      </p:sp>
      <p:sp>
        <p:nvSpPr>
          <p:cNvPr id="5" name="TextBox 4">
            <a:extLst>
              <a:ext uri="{FF2B5EF4-FFF2-40B4-BE49-F238E27FC236}">
                <a16:creationId xmlns:a16="http://schemas.microsoft.com/office/drawing/2014/main" id="{C1844057-7684-410C-318A-858DB39437D1}"/>
              </a:ext>
            </a:extLst>
          </p:cNvPr>
          <p:cNvSpPr txBox="1"/>
          <p:nvPr/>
        </p:nvSpPr>
        <p:spPr>
          <a:xfrm>
            <a:off x="1301814" y="5785949"/>
            <a:ext cx="9588372" cy="561309"/>
          </a:xfrm>
          <a:prstGeom prst="rect">
            <a:avLst/>
          </a:prstGeom>
          <a:noFill/>
        </p:spPr>
        <p:txBody>
          <a:bodyPr wrap="square" lIns="0" tIns="0" rIns="0" bIns="0" rtlCol="0">
            <a:noAutofit/>
          </a:bodyPr>
          <a:lstStyle/>
          <a:p>
            <a:pPr algn="l"/>
            <a:r>
              <a:rPr lang="en-US" b="1" dirty="0">
                <a:solidFill>
                  <a:schemeClr val="tx2"/>
                </a:solidFill>
              </a:rPr>
              <a:t>The application will create the entire command line for the report based on the variables the user set in the application, this will avoid any human error.</a:t>
            </a:r>
          </a:p>
        </p:txBody>
      </p:sp>
      <p:pic>
        <p:nvPicPr>
          <p:cNvPr id="3" name="Picture 2">
            <a:extLst>
              <a:ext uri="{FF2B5EF4-FFF2-40B4-BE49-F238E27FC236}">
                <a16:creationId xmlns:a16="http://schemas.microsoft.com/office/drawing/2014/main" id="{ACFDEB49-8811-B842-291B-1E1711DDD1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15609" y="1612100"/>
            <a:ext cx="7403442" cy="3633799"/>
          </a:xfrm>
          <a:prstGeom prst="rect">
            <a:avLst/>
          </a:prstGeom>
        </p:spPr>
      </p:pic>
    </p:spTree>
    <p:extLst>
      <p:ext uri="{BB962C8B-B14F-4D97-AF65-F5344CB8AC3E}">
        <p14:creationId xmlns:p14="http://schemas.microsoft.com/office/powerpoint/2010/main" val="2327220090"/>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72885" y="890327"/>
            <a:ext cx="10411215" cy="537146"/>
          </a:xfrm>
        </p:spPr>
        <p:txBody>
          <a:bodyPr/>
          <a:lstStyle/>
          <a:p>
            <a:r>
              <a:rPr lang="en-US" dirty="0"/>
              <a:t>Testing the report requires a command as well</a:t>
            </a:r>
          </a:p>
        </p:txBody>
      </p:sp>
      <p:sp>
        <p:nvSpPr>
          <p:cNvPr id="5" name="TextBox 4">
            <a:extLst>
              <a:ext uri="{FF2B5EF4-FFF2-40B4-BE49-F238E27FC236}">
                <a16:creationId xmlns:a16="http://schemas.microsoft.com/office/drawing/2014/main" id="{C1844057-7684-410C-318A-858DB39437D1}"/>
              </a:ext>
            </a:extLst>
          </p:cNvPr>
          <p:cNvSpPr txBox="1"/>
          <p:nvPr/>
        </p:nvSpPr>
        <p:spPr>
          <a:xfrm>
            <a:off x="1301814" y="4828005"/>
            <a:ext cx="9588372" cy="561309"/>
          </a:xfrm>
          <a:prstGeom prst="rect">
            <a:avLst/>
          </a:prstGeom>
          <a:noFill/>
        </p:spPr>
        <p:txBody>
          <a:bodyPr wrap="square" lIns="0" tIns="0" rIns="0" bIns="0" rtlCol="0">
            <a:noAutofit/>
          </a:bodyPr>
          <a:lstStyle/>
          <a:p>
            <a:pPr algn="l"/>
            <a:r>
              <a:rPr lang="en-US" b="1" dirty="0">
                <a:solidFill>
                  <a:schemeClr val="tx2"/>
                </a:solidFill>
              </a:rPr>
              <a:t>The application will create the testing command for each specific report as it does with the rest of the commands in order to avoid human errors</a:t>
            </a:r>
          </a:p>
        </p:txBody>
      </p:sp>
      <p:pic>
        <p:nvPicPr>
          <p:cNvPr id="6" name="Picture 5">
            <a:extLst>
              <a:ext uri="{FF2B5EF4-FFF2-40B4-BE49-F238E27FC236}">
                <a16:creationId xmlns:a16="http://schemas.microsoft.com/office/drawing/2014/main" id="{87EBBB0D-80E7-D500-51D6-6D6DC295E3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1322" y="3190320"/>
            <a:ext cx="9849356" cy="561310"/>
          </a:xfrm>
          <a:prstGeom prst="rect">
            <a:avLst/>
          </a:prstGeom>
        </p:spPr>
      </p:pic>
      <p:sp>
        <p:nvSpPr>
          <p:cNvPr id="7" name="Title 3">
            <a:extLst>
              <a:ext uri="{FF2B5EF4-FFF2-40B4-BE49-F238E27FC236}">
                <a16:creationId xmlns:a16="http://schemas.microsoft.com/office/drawing/2014/main" id="{92EEEC65-389D-4E51-0542-5E3D1159FE4C}"/>
              </a:ext>
            </a:extLst>
          </p:cNvPr>
          <p:cNvSpPr txBox="1">
            <a:spLocks/>
          </p:cNvSpPr>
          <p:nvPr/>
        </p:nvSpPr>
        <p:spPr>
          <a:xfrm>
            <a:off x="772885" y="931540"/>
            <a:ext cx="10411215" cy="537146"/>
          </a:xfrm>
          <a:prstGeom prst="rect">
            <a:avLst/>
          </a:prstGeom>
        </p:spPr>
        <p:txBody>
          <a:bodyPr vert="horz" lIns="0" tIns="0" rIns="0" bIns="0" rtlCol="0" anchor="t" anchorCtr="0">
            <a:noAutofit/>
          </a:bodyPr>
          <a:lstStyle>
            <a:lvl1pPr algn="l" defTabSz="914377" rtl="0" eaLnBrk="1" latinLnBrk="0" hangingPunct="1">
              <a:lnSpc>
                <a:spcPct val="100000"/>
              </a:lnSpc>
              <a:spcBef>
                <a:spcPct val="0"/>
              </a:spcBef>
              <a:spcAft>
                <a:spcPts val="300"/>
              </a:spcAft>
              <a:buNone/>
              <a:defRPr lang="de-DE" sz="3600" b="1" i="0" kern="1200" baseline="0" dirty="0">
                <a:solidFill>
                  <a:srgbClr val="000000"/>
                </a:solidFill>
                <a:latin typeface="+mn-lt"/>
                <a:ea typeface="+mn-ea"/>
                <a:cs typeface="+mn-cs"/>
              </a:defRPr>
            </a:lvl1pPr>
          </a:lstStyle>
          <a:p>
            <a:r>
              <a:rPr lang="en-US"/>
              <a:t>Testing the report requires a command as well</a:t>
            </a:r>
          </a:p>
        </p:txBody>
      </p:sp>
    </p:spTree>
    <p:extLst>
      <p:ext uri="{BB962C8B-B14F-4D97-AF65-F5344CB8AC3E}">
        <p14:creationId xmlns:p14="http://schemas.microsoft.com/office/powerpoint/2010/main" val="3071491351"/>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55362" y="949058"/>
            <a:ext cx="7520010" cy="537146"/>
          </a:xfrm>
        </p:spPr>
        <p:txBody>
          <a:bodyPr/>
          <a:lstStyle/>
          <a:p>
            <a:r>
              <a:rPr lang="en-US" dirty="0"/>
              <a:t>Updating the group of each file</a:t>
            </a:r>
          </a:p>
        </p:txBody>
      </p:sp>
      <p:sp>
        <p:nvSpPr>
          <p:cNvPr id="5" name="TextBox 4">
            <a:extLst>
              <a:ext uri="{FF2B5EF4-FFF2-40B4-BE49-F238E27FC236}">
                <a16:creationId xmlns:a16="http://schemas.microsoft.com/office/drawing/2014/main" id="{C1844057-7684-410C-318A-858DB39437D1}"/>
              </a:ext>
            </a:extLst>
          </p:cNvPr>
          <p:cNvSpPr txBox="1"/>
          <p:nvPr/>
        </p:nvSpPr>
        <p:spPr>
          <a:xfrm>
            <a:off x="1651799" y="6079862"/>
            <a:ext cx="8727136" cy="537147"/>
          </a:xfrm>
          <a:prstGeom prst="rect">
            <a:avLst/>
          </a:prstGeom>
          <a:noFill/>
        </p:spPr>
        <p:txBody>
          <a:bodyPr wrap="square" lIns="0" tIns="0" rIns="0" bIns="0" rtlCol="0">
            <a:noAutofit/>
          </a:bodyPr>
          <a:lstStyle/>
          <a:p>
            <a:pPr algn="l"/>
            <a:r>
              <a:rPr lang="en-US" b="1" dirty="0">
                <a:solidFill>
                  <a:schemeClr val="tx2"/>
                </a:solidFill>
              </a:rPr>
              <a:t>The application also generates the commands to update the group of each file </a:t>
            </a:r>
          </a:p>
        </p:txBody>
      </p:sp>
      <p:pic>
        <p:nvPicPr>
          <p:cNvPr id="3" name="Picture 2">
            <a:extLst>
              <a:ext uri="{FF2B5EF4-FFF2-40B4-BE49-F238E27FC236}">
                <a16:creationId xmlns:a16="http://schemas.microsoft.com/office/drawing/2014/main" id="{8CF98E80-992F-C921-29EF-5924196249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55362" y="1783450"/>
            <a:ext cx="7520010" cy="3999166"/>
          </a:xfrm>
          <a:prstGeom prst="rect">
            <a:avLst/>
          </a:prstGeom>
        </p:spPr>
      </p:pic>
    </p:spTree>
    <p:extLst>
      <p:ext uri="{BB962C8B-B14F-4D97-AF65-F5344CB8AC3E}">
        <p14:creationId xmlns:p14="http://schemas.microsoft.com/office/powerpoint/2010/main" val="1494019289"/>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IAAAAAAAAAAwAAAAMAAAAA/////wQAGwwAAAAAAAAAAAAAIAD///////////////8AAAD///////////////8DAAAAAgD///////8DAAAAAwD///////8DAAAAAwD///////8DAAAAAwD///////8DAAAAAwD///////////////////////////////////////////////////////////////////////////////////////////////////////////////////////////////////////////////////////////////////////////////////////////////////////////////////////////////////////////////////////////////////////////////////////////////////////////////////////////////////////////////////////////////////////////////////////////////////////////////////////////////////////////////8BACAA////////////////AAAO////////AwAAAAMA////////////////////////////////////////////////////////////////////////////////////////////////////////////////////////////////////////////////////////////////////////////////////////////////////////////////////////////////////////////////////////////////////////////////////////////////////////////////////////////////////////////////////////////////////////////////////////////////////////////////////////////////////////////////////////////////////////////////////////////////////////////////////////AgABAP///////wQAAAACABAAC5y7+YDqDxJChPrGUhYqi/AFAAAAAAADAAAAAAADAAAAAwADAAUA////////BAAAAAMAEAALFFMx9ixw5EKiZgq14pFz+gUAAAABAAMAAAACAAMAAAABAAMAAAAAAP///////wMAAAAAAP///////w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Jy7+YDqDxJChPrGUhYqi/ADRGF0YQAbAAAABExpbmtlZFNoYXBlRGF0YQAFAAAAAAACTmFtZQAZAAAATGlua2VkU2hhcGVzRGF0YVByb3BlcnR5ABBWZXJzaW9uAAAAAAAJTGFzdFdyaXRlAHhLnCZ4AQAAAAEA/////50AnQAAAAVfaWQAEAAAAAQUUzH2LHDkQqJmCrXikXP6A0RhdGEAKgAAAAhQcmVzZW50YXRpb25TY2FubmVkRm9yTGlua2VkU2hhcGVzAAEAAk5hbWUAJAAAAExpbmtlZFNoYXBlUHJlc2VudGF0aW9uU2V0dGluZ3NEYXRhABBWZXJzaW9uAAAAAAAJTGFzdFdyaXRlALZLnCZ4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0"/>
  <p:tag name="MIO_SHOW_DATE" val="False"/>
  <p:tag name="MIO_SHOW_FOOTER" val="False"/>
  <p:tag name="MIO_SHOW_PAGENUMBER" val="True"/>
  <p:tag name="MIO_AVOID_BLANK_LAYOUT" val="True"/>
  <p:tag name="MIO_CD_LAYOUT_VALID_AREA" val="False"/>
  <p:tag name="MIO_EMBED_FONT" val="False"/>
  <p:tag name="MIO_MATCH_COLOR_SCHEME" val="False"/>
  <p:tag name="MIO_NUMBER_OF_VALID_LAYOUTS" val="65"/>
  <p:tag name="MIO_HDS" val="True"/>
  <p:tag name="MIO_SKIPVERSION" val="01.01.0001 00:00:00"/>
  <p:tag name="MIO_EKGUID" val="7350e9b5-f0dc-45d6-a9b9-2281be859286"/>
  <p:tag name="MIO_UPDATE" val="True"/>
  <p:tag name="MIO_VERSION" val="02.02.2022 10:27:53"/>
  <p:tag name="MIO_DBID" val="0F45B44C-9BC7-4D85-81C4-7155EE70A7B9"/>
  <p:tag name="MIO_LASTDOWNLOADED" val="17.05.2022 13:40:46.105"/>
  <p:tag name="MIO_OBJECTNAME" val="empower Getting started"/>
  <p:tag name="MIO_CDID" val="91ee03f4-3f84-4198-8eaa-c47cfb7331b3"/>
</p:tagLst>
</file>

<file path=ppt/theme/theme1.xml><?xml version="1.0" encoding="utf-8"?>
<a:theme xmlns:a="http://schemas.openxmlformats.org/drawingml/2006/main" name="KN Master">
  <a:themeElements>
    <a:clrScheme name="KN Colors">
      <a:dk1>
        <a:srgbClr val="003369"/>
      </a:dk1>
      <a:lt1>
        <a:sysClr val="window" lastClr="FFFFFF"/>
      </a:lt1>
      <a:dk2>
        <a:srgbClr val="000000"/>
      </a:dk2>
      <a:lt2>
        <a:srgbClr val="F6F5F0"/>
      </a:lt2>
      <a:accent1>
        <a:srgbClr val="003369"/>
      </a:accent1>
      <a:accent2>
        <a:srgbClr val="0099DA"/>
      </a:accent2>
      <a:accent3>
        <a:srgbClr val="08C792"/>
      </a:accent3>
      <a:accent4>
        <a:srgbClr val="ED2939"/>
      </a:accent4>
      <a:accent5>
        <a:srgbClr val="62635B"/>
      </a:accent5>
      <a:accent6>
        <a:srgbClr val="929288"/>
      </a:accent6>
      <a:hlink>
        <a:srgbClr val="0099DA"/>
      </a:hlink>
      <a:folHlink>
        <a:srgbClr val="929288"/>
      </a:folHlink>
    </a:clrScheme>
    <a:fontScheme name="KN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800" dirty="0">
            <a:solidFill>
              <a:srgbClr val="000000"/>
            </a:solidFill>
          </a:defRPr>
        </a:defPPr>
      </a:lstStyle>
    </a:txDef>
  </a:objectDefaults>
  <a:extraClrSchemeLst/>
  <a:extLst>
    <a:ext uri="{05A4C25C-085E-4340-85A3-A5531E510DB2}">
      <thm15:themeFamily xmlns:thm15="http://schemas.microsoft.com/office/thememl/2012/main" name="Default Theme.pptx" id="{BB236DDC-87B6-4467-A461-1B69AC5BEB65}" vid="{44FD669F-400B-4546-878F-68CDEF6D99E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26fa5e3f-68d1-4d40-9d0b-594a5a010a2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D95921133C7E0242B0D1BF85C45EDE8C" ma:contentTypeVersion="15" ma:contentTypeDescription="Ein neues Dokument erstellen." ma:contentTypeScope="" ma:versionID="87107d4c6a369dd5e8a89565f1fd96d7">
  <xsd:schema xmlns:xsd="http://www.w3.org/2001/XMLSchema" xmlns:xs="http://www.w3.org/2001/XMLSchema" xmlns:p="http://schemas.microsoft.com/office/2006/metadata/properties" xmlns:ns3="26fa5e3f-68d1-4d40-9d0b-594a5a010a24" xmlns:ns4="69861c4b-6fd4-4272-a039-b57d932bd1cc" targetNamespace="http://schemas.microsoft.com/office/2006/metadata/properties" ma:root="true" ma:fieldsID="97172b63044ae44365c7777c86ee06f9" ns3:_="" ns4:_="">
    <xsd:import namespace="26fa5e3f-68d1-4d40-9d0b-594a5a010a24"/>
    <xsd:import namespace="69861c4b-6fd4-4272-a039-b57d932bd1cc"/>
    <xsd:element name="properties">
      <xsd:complexType>
        <xsd:sequence>
          <xsd:element name="documentManagement">
            <xsd:complexType>
              <xsd:all>
                <xsd:element ref="ns3:_activity" minOccurs="0"/>
                <xsd:element ref="ns4:SharedWithUsers" minOccurs="0"/>
                <xsd:element ref="ns4:SharedWithDetails" minOccurs="0"/>
                <xsd:element ref="ns4:SharingHintHash" minOccurs="0"/>
                <xsd:element ref="ns3:MediaServiceMetadata" minOccurs="0"/>
                <xsd:element ref="ns3:MediaServiceFastMetadata" minOccurs="0"/>
                <xsd:element ref="ns3:MediaServiceObjectDetectorVersion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fa5e3f-68d1-4d40-9d0b-594a5a010a24" elementFormDefault="qualified">
    <xsd:import namespace="http://schemas.microsoft.com/office/2006/documentManagement/types"/>
    <xsd:import namespace="http://schemas.microsoft.com/office/infopath/2007/PartnerControls"/>
    <xsd:element name="_activity" ma:index="8" nillable="true" ma:displayName="_activity" ma:hidden="true" ma:internalName="_activity">
      <xsd:simpleType>
        <xsd:restriction base="dms:Note"/>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861c4b-6fd4-4272-a039-b57d932bd1cc" elementFormDefault="qualified">
    <xsd:import namespace="http://schemas.microsoft.com/office/2006/documentManagement/types"/>
    <xsd:import namespace="http://schemas.microsoft.com/office/infopath/2007/PartnerControls"/>
    <xsd:element name="SharedWithUsers" ma:index="9"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Freigegeben für - Details" ma:internalName="SharedWithDetails" ma:readOnly="true">
      <xsd:simpleType>
        <xsd:restriction base="dms:Note">
          <xsd:maxLength value="255"/>
        </xsd:restriction>
      </xsd:simpleType>
    </xsd:element>
    <xsd:element name="SharingHintHash" ma:index="11"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31136E4-4409-4AD7-9781-5D5D76A07057}">
  <ds:schemaRefs>
    <ds:schemaRef ds:uri="http://schemas.microsoft.com/sharepoint/v3/contenttype/forms"/>
  </ds:schemaRefs>
</ds:datastoreItem>
</file>

<file path=customXml/itemProps2.xml><?xml version="1.0" encoding="utf-8"?>
<ds:datastoreItem xmlns:ds="http://schemas.openxmlformats.org/officeDocument/2006/customXml" ds:itemID="{ED46D3DB-CEF0-409B-8A6A-9E43063025D5}">
  <ds:schemaRefs>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purl.org/dc/dcmitype/"/>
    <ds:schemaRef ds:uri="69861c4b-6fd4-4272-a039-b57d932bd1cc"/>
    <ds:schemaRef ds:uri="26fa5e3f-68d1-4d40-9d0b-594a5a010a24"/>
    <ds:schemaRef ds:uri="http://schemas.microsoft.com/office/2006/metadata/properties"/>
    <ds:schemaRef ds:uri="http://www.w3.org/XML/1998/namespace"/>
    <ds:schemaRef ds:uri="http://purl.org/dc/elements/1.1/"/>
  </ds:schemaRefs>
</ds:datastoreItem>
</file>

<file path=customXml/itemProps3.xml><?xml version="1.0" encoding="utf-8"?>
<ds:datastoreItem xmlns:ds="http://schemas.openxmlformats.org/officeDocument/2006/customXml" ds:itemID="{A3B2F9C6-BE8F-4016-AF9D-B60178387C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6fa5e3f-68d1-4d40-9d0b-594a5a010a24"/>
    <ds:schemaRef ds:uri="69861c4b-6fd4-4272-a039-b57d932bd1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21585</TotalTime>
  <Words>1170</Words>
  <Application>Microsoft Office PowerPoint</Application>
  <PresentationFormat>Widescreen</PresentationFormat>
  <Paragraphs>130</Paragraphs>
  <Slides>17</Slides>
  <Notes>8</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7</vt:i4>
      </vt:variant>
    </vt:vector>
  </HeadingPairs>
  <TitlesOfParts>
    <vt:vector size="23" baseType="lpstr">
      <vt:lpstr>Arial</vt:lpstr>
      <vt:lpstr>Calibri</vt:lpstr>
      <vt:lpstr>Symbol</vt:lpstr>
      <vt:lpstr>Times New Roman</vt:lpstr>
      <vt:lpstr>Wingdings</vt:lpstr>
      <vt:lpstr>KN Master</vt:lpstr>
      <vt:lpstr>Hosted Services – SALOG Helpdesk:  Incident resolution task for Global.    CI TK# 388315816 Schedule personalized reports in the server and scripts creation to solve errors or behaviors in SALOG.  Ariel Sanchez Troz</vt:lpstr>
      <vt:lpstr>PowerPoint Presentation</vt:lpstr>
      <vt:lpstr>1. Creation of sh and src Documents</vt:lpstr>
      <vt:lpstr>Example of document sh + template</vt:lpstr>
      <vt:lpstr>Finding the path to add both documents</vt:lpstr>
      <vt:lpstr>Mobax login and basic CLI commands</vt:lpstr>
      <vt:lpstr>Schedule report command</vt:lpstr>
      <vt:lpstr>Testing the report requires a command as well</vt:lpstr>
      <vt:lpstr>Updating the group of each file</vt:lpstr>
      <vt:lpstr>PowerPoint Presentation</vt:lpstr>
      <vt:lpstr>As an additional function it creates SQL files and automatize the git commands for update ticket requests</vt:lpstr>
      <vt:lpstr>Time for reports – 3 months </vt:lpstr>
      <vt:lpstr>Implementation for reports</vt:lpstr>
      <vt:lpstr>Time for scripts – 3 months</vt:lpstr>
      <vt:lpstr>Implementation for scripts</vt:lpstr>
      <vt:lpstr>Saving with the app = 0.57 FTE</vt:lpstr>
      <vt:lpstr>PowerPoint Presentation</vt:lpstr>
    </vt:vector>
  </TitlesOfParts>
  <Company>Kuehne + Nag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formation vs. Continuous improvement</dc:title>
  <dc:creator>Holton, Michael / Kuehne + Nagel / SGI MF-ST</dc:creator>
  <cp:lastModifiedBy>Sanchez.Troz, Ariel / Kuehne + Nagel / Her SA-AS</cp:lastModifiedBy>
  <cp:revision>120</cp:revision>
  <dcterms:created xsi:type="dcterms:W3CDTF">2022-06-13T14:14:34Z</dcterms:created>
  <dcterms:modified xsi:type="dcterms:W3CDTF">2025-02-19T17:0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828794a-ad25-45b2-b935-93f5b652d9d4_Enabled">
    <vt:lpwstr>true</vt:lpwstr>
  </property>
  <property fmtid="{D5CDD505-2E9C-101B-9397-08002B2CF9AE}" pid="3" name="MSIP_Label_0828794a-ad25-45b2-b935-93f5b652d9d4_SetDate">
    <vt:lpwstr>2024-04-24T15:44:10Z</vt:lpwstr>
  </property>
  <property fmtid="{D5CDD505-2E9C-101B-9397-08002B2CF9AE}" pid="4" name="MSIP_Label_0828794a-ad25-45b2-b935-93f5b652d9d4_Method">
    <vt:lpwstr>Standard</vt:lpwstr>
  </property>
  <property fmtid="{D5CDD505-2E9C-101B-9397-08002B2CF9AE}" pid="5" name="MSIP_Label_0828794a-ad25-45b2-b935-93f5b652d9d4_Name">
    <vt:lpwstr>External</vt:lpwstr>
  </property>
  <property fmtid="{D5CDD505-2E9C-101B-9397-08002B2CF9AE}" pid="6" name="MSIP_Label_0828794a-ad25-45b2-b935-93f5b652d9d4_SiteId">
    <vt:lpwstr>ea7a7580-e503-4446-9197-e4bd27841804</vt:lpwstr>
  </property>
  <property fmtid="{D5CDD505-2E9C-101B-9397-08002B2CF9AE}" pid="7" name="MSIP_Label_0828794a-ad25-45b2-b935-93f5b652d9d4_ActionId">
    <vt:lpwstr>2ab695b2-160a-4aab-8952-216f4d561061</vt:lpwstr>
  </property>
  <property fmtid="{D5CDD505-2E9C-101B-9397-08002B2CF9AE}" pid="8" name="MSIP_Label_0828794a-ad25-45b2-b935-93f5b652d9d4_ContentBits">
    <vt:lpwstr>0</vt:lpwstr>
  </property>
</Properties>
</file>